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6"/>
  </p:notesMasterIdLst>
  <p:sldIdLst>
    <p:sldId id="263" r:id="rId5"/>
    <p:sldId id="288" r:id="rId6"/>
    <p:sldId id="2644" r:id="rId7"/>
    <p:sldId id="261" r:id="rId8"/>
    <p:sldId id="258" r:id="rId9"/>
    <p:sldId id="256" r:id="rId10"/>
    <p:sldId id="2587" r:id="rId11"/>
    <p:sldId id="257" r:id="rId12"/>
    <p:sldId id="2641" r:id="rId13"/>
    <p:sldId id="2639" r:id="rId14"/>
    <p:sldId id="2588" r:id="rId15"/>
    <p:sldId id="262" r:id="rId16"/>
    <p:sldId id="269" r:id="rId17"/>
    <p:sldId id="2643" r:id="rId18"/>
    <p:sldId id="2642" r:id="rId19"/>
    <p:sldId id="2637" r:id="rId20"/>
    <p:sldId id="2638" r:id="rId21"/>
    <p:sldId id="264" r:id="rId22"/>
    <p:sldId id="265" r:id="rId23"/>
    <p:sldId id="2567" r:id="rId24"/>
    <p:sldId id="300" r:id="rId25"/>
  </p:sldIdLst>
  <p:sldSz cx="12192000" cy="6858000"/>
  <p:notesSz cx="7010400" cy="9236075"/>
  <p:embeddedFontLst>
    <p:embeddedFont>
      <p:font typeface="Arial Narrow" panose="020B0606020202030204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s" id="{7755CAEF-CCDF-453B-84B3-0DC0C3015CE8}">
          <p14:sldIdLst>
            <p14:sldId id="263"/>
            <p14:sldId id="288"/>
          </p14:sldIdLst>
        </p14:section>
        <p14:section name="Dividers" id="{575F0772-ACC2-4AB8-8235-E43A9894D967}">
          <p14:sldIdLst>
            <p14:sldId id="2644"/>
            <p14:sldId id="261"/>
            <p14:sldId id="258"/>
            <p14:sldId id="256"/>
            <p14:sldId id="2587"/>
            <p14:sldId id="257"/>
            <p14:sldId id="2641"/>
            <p14:sldId id="2639"/>
            <p14:sldId id="2588"/>
            <p14:sldId id="262"/>
            <p14:sldId id="269"/>
            <p14:sldId id="2643"/>
            <p14:sldId id="2642"/>
            <p14:sldId id="2637"/>
            <p14:sldId id="2638"/>
            <p14:sldId id="264"/>
            <p14:sldId id="265"/>
            <p14:sldId id="2567"/>
          </p14:sldIdLst>
        </p14:section>
        <p14:section name="Content 100%" id="{778C5D67-0922-4445-A1F7-7B0505835584}">
          <p14:sldIdLst>
            <p14:sldId id="3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AD8319-55DB-4182-959E-E770434CFEEF}" v="11" dt="2024-08-29T15:45:30.5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34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2.fntdata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C7A756AC-950E-407D-B997-9F8281A4EB8E}" type="datetimeFigureOut">
              <a:rPr lang="en-US" smtClean="0"/>
              <a:t>9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3425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D12854C9-FAB8-4F12-AC50-7CC28BF7C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280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792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356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46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124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microsoft.com/office/2007/relationships/hdphoto" Target="../media/hdphoto4.wdp"/><Relationship Id="rId4" Type="http://schemas.openxmlformats.org/officeDocument/2006/relationships/image" Target="../media/image2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4.png"/><Relationship Id="rId7" Type="http://schemas.openxmlformats.org/officeDocument/2006/relationships/image" Target="../media/image2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microsoft.com/office/2007/relationships/hdphoto" Target="../media/hdphoto5.wd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8.pn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3.wdp"/><Relationship Id="rId4" Type="http://schemas.openxmlformats.org/officeDocument/2006/relationships/image" Target="../media/image1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28375C0-A08B-0F83-023B-599760E03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882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8375C0-A08B-0F83-023B-599760E03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12C527E8-C474-EC12-844C-C19539167E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B23FC17-FEE3-9B5E-5F39-FDC50ACACB0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12C84B31-A016-EBFD-1CB2-A80DF35E5F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4900" y="4419600"/>
            <a:ext cx="9321800" cy="1447801"/>
          </a:xfrm>
        </p:spPr>
        <p:txBody>
          <a:bodyPr vert="horz" wrap="square" anchor="b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5AE683F-24C8-A77B-D674-76894673FA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4900" y="6021684"/>
            <a:ext cx="9321800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D34C52-65F0-FF25-F9FC-F0E11CF60B83}"/>
              </a:ext>
            </a:extLst>
          </p:cNvPr>
          <p:cNvSpPr/>
          <p:nvPr userDrawn="1"/>
        </p:nvSpPr>
        <p:spPr>
          <a:xfrm>
            <a:off x="10782300" y="-1"/>
            <a:ext cx="1409700" cy="5791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6692A7F-4DD6-7BA6-5B27-0A6A205C8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00" y="279400"/>
            <a:ext cx="11544300" cy="37846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F61AA50-5BEE-C449-2386-026EA7DF946C}"/>
              </a:ext>
            </a:extLst>
          </p:cNvPr>
          <p:cNvSpPr/>
          <p:nvPr userDrawn="1"/>
        </p:nvSpPr>
        <p:spPr>
          <a:xfrm>
            <a:off x="0" y="3429000"/>
            <a:ext cx="635000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51D9FA-361F-3314-6FA9-4BF3D90B912E}"/>
              </a:ext>
            </a:extLst>
          </p:cNvPr>
          <p:cNvSpPr/>
          <p:nvPr userDrawn="1"/>
        </p:nvSpPr>
        <p:spPr>
          <a:xfrm>
            <a:off x="330200" y="279400"/>
            <a:ext cx="11544300" cy="1879600"/>
          </a:xfrm>
          <a:prstGeom prst="rect">
            <a:avLst/>
          </a:prstGeom>
          <a:gradFill>
            <a:gsLst>
              <a:gs pos="0">
                <a:schemeClr val="accent1">
                  <a:alpha val="60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9F226F3-1E3A-C7EC-B6CD-E6D1F1E5C2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5895" y="630220"/>
            <a:ext cx="2201255" cy="436579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09AA487D-EFF1-8672-86D9-222ABE901E75}"/>
              </a:ext>
            </a:extLst>
          </p:cNvPr>
          <p:cNvSpPr/>
          <p:nvPr userDrawn="1"/>
        </p:nvSpPr>
        <p:spPr>
          <a:xfrm>
            <a:off x="10363200" y="3644901"/>
            <a:ext cx="838200" cy="838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955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4B27DD3-15A3-900D-331C-E12F66C9C3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51" t="762" b="7417"/>
          <a:stretch/>
        </p:blipFill>
        <p:spPr>
          <a:xfrm>
            <a:off x="0" y="0"/>
            <a:ext cx="103886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79A7D1E-522E-5C7D-D944-6729EAD83B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75000">
                <a:schemeClr val="bg1"/>
              </a:gs>
              <a:gs pos="0">
                <a:srgbClr val="95BCCC">
                  <a:alpha val="4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F1AF606-5F95-F022-E4EA-9E0A0392502D}"/>
              </a:ext>
            </a:extLst>
          </p:cNvPr>
          <p:cNvSpPr/>
          <p:nvPr userDrawn="1"/>
        </p:nvSpPr>
        <p:spPr>
          <a:xfrm>
            <a:off x="739555" y="721474"/>
            <a:ext cx="3760414" cy="365277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3000">
                <a:schemeClr val="accent1">
                  <a:alpha val="5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6898930-39C8-778D-C3CF-CCA0FF0CF42C}"/>
              </a:ext>
            </a:extLst>
          </p:cNvPr>
          <p:cNvSpPr/>
          <p:nvPr userDrawn="1"/>
        </p:nvSpPr>
        <p:spPr>
          <a:xfrm>
            <a:off x="1444594" y="2284212"/>
            <a:ext cx="3564031" cy="3182222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4000">
                <a:schemeClr val="accent4">
                  <a:alpha val="4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r>
              <a:rPr lang="en-US"/>
              <a:t>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C84F8B0-5DA5-D7BA-5A54-10C2CA6DC7E2}"/>
              </a:ext>
            </a:extLst>
          </p:cNvPr>
          <p:cNvSpPr/>
          <p:nvPr userDrawn="1"/>
        </p:nvSpPr>
        <p:spPr>
          <a:xfrm>
            <a:off x="1452612" y="1704438"/>
            <a:ext cx="1868107" cy="1604631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4000">
                <a:schemeClr val="accent2">
                  <a:alpha val="2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r>
              <a:rPr lang="en-US"/>
              <a:t> </a:t>
            </a:r>
          </a:p>
        </p:txBody>
      </p:sp>
      <p:pic>
        <p:nvPicPr>
          <p:cNvPr id="27" name="Picture 26" descr="A person in a hard hat and safety vest holding a blueprint&#10;&#10;Description automatically generated">
            <a:extLst>
              <a:ext uri="{FF2B5EF4-FFF2-40B4-BE49-F238E27FC236}">
                <a16:creationId xmlns:a16="http://schemas.microsoft.com/office/drawing/2014/main" id="{A638A36F-8F94-E0C9-9AD8-BB1F5B46B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51" t="762" b="7417"/>
          <a:stretch/>
        </p:blipFill>
        <p:spPr>
          <a:xfrm>
            <a:off x="0" y="-1"/>
            <a:ext cx="10388600" cy="685800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274DDE7-C4CE-1300-8867-561B5962387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9458">
                <a:srgbClr val="FFFFFF">
                  <a:alpha val="47000"/>
                </a:srgbClr>
              </a:gs>
              <a:gs pos="62000">
                <a:schemeClr val="bg1">
                  <a:alpha val="96000"/>
                </a:schemeClr>
              </a:gs>
              <a:gs pos="23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  <p:pic>
        <p:nvPicPr>
          <p:cNvPr id="89" name="Picture 88" descr="A black grid with white lines&#10;&#10;Description automatically generated">
            <a:extLst>
              <a:ext uri="{FF2B5EF4-FFF2-40B4-BE49-F238E27FC236}">
                <a16:creationId xmlns:a16="http://schemas.microsoft.com/office/drawing/2014/main" id="{1699667B-69D3-131A-3B21-6DFFBD067D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656" y="0"/>
            <a:ext cx="11671313" cy="685799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F7A3C514-5B2B-F027-CC54-F3DC41C53FD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123257" y="3040650"/>
            <a:ext cx="5283199" cy="1495794"/>
          </a:xfrm>
        </p:spPr>
        <p:txBody>
          <a:bodyPr anchor="b"/>
          <a:lstStyle>
            <a:lvl1pPr algn="r">
              <a:lnSpc>
                <a:spcPct val="90000"/>
              </a:lnSpc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 tit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4F851B59-A603-2CDE-4603-E669C5233FA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123257" y="4636882"/>
            <a:ext cx="5283200" cy="307777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10" name="Picture 9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E5940ADB-1157-EE1F-6749-937ACA9D44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D1FF17EE-A9D0-2DD4-331C-2EEF1625D2A6}"/>
              </a:ext>
            </a:extLst>
          </p:cNvPr>
          <p:cNvSpPr/>
          <p:nvPr userDrawn="1"/>
        </p:nvSpPr>
        <p:spPr>
          <a:xfrm>
            <a:off x="592765" y="2852378"/>
            <a:ext cx="4156229" cy="835264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43741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fountain in front of a building&#10;&#10;Description automatically generated">
            <a:extLst>
              <a:ext uri="{FF2B5EF4-FFF2-40B4-BE49-F238E27FC236}">
                <a16:creationId xmlns:a16="http://schemas.microsoft.com/office/drawing/2014/main" id="{8115671F-0B6C-7677-C746-F11EA46144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92000" cy="6858002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4BC28D-6879-7A4E-E5AD-AA71A1004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391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4BC28D-6879-7A4E-E5AD-AA71A1004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1888369B-2EDE-8878-0B75-0B48EA71CBA8}"/>
              </a:ext>
            </a:extLst>
          </p:cNvPr>
          <p:cNvSpPr/>
          <p:nvPr userDrawn="1"/>
        </p:nvSpPr>
        <p:spPr>
          <a:xfrm>
            <a:off x="0" y="802200"/>
            <a:ext cx="12192000" cy="52536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25D0BA-F437-74EB-1738-C078B0E0D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472" y="3429001"/>
            <a:ext cx="6823528" cy="1624236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C410CA0B-00B4-17D9-6152-6B6BB9F70E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5472" y="5242123"/>
            <a:ext cx="6823528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6" name="Picture 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CDE18ADF-8141-43ED-6619-B92C0CDC2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472" y="1340901"/>
            <a:ext cx="2305225" cy="4572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6DA6DCC-2187-062B-4921-DB7C5BC7BD10}"/>
              </a:ext>
            </a:extLst>
          </p:cNvPr>
          <p:cNvGrpSpPr/>
          <p:nvPr userDrawn="1"/>
        </p:nvGrpSpPr>
        <p:grpSpPr>
          <a:xfrm>
            <a:off x="0" y="6000936"/>
            <a:ext cx="7797800" cy="54864"/>
            <a:chOff x="4394200" y="5549900"/>
            <a:chExt cx="6034506" cy="72518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F7A6B2F-AC9C-FEDB-4C77-5DCF2083EEA8}"/>
                </a:ext>
              </a:extLst>
            </p:cNvPr>
            <p:cNvSpPr/>
            <p:nvPr userDrawn="1"/>
          </p:nvSpPr>
          <p:spPr>
            <a:xfrm>
              <a:off x="4394200" y="5549900"/>
              <a:ext cx="3017253" cy="7251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0CA378B-DE65-0C31-5A30-B6F831CB384D}"/>
                </a:ext>
              </a:extLst>
            </p:cNvPr>
            <p:cNvSpPr/>
            <p:nvPr userDrawn="1"/>
          </p:nvSpPr>
          <p:spPr>
            <a:xfrm>
              <a:off x="7411453" y="5549900"/>
              <a:ext cx="3017253" cy="7251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1CD00762-A8C1-17B3-C1DD-B3773EE385B7}"/>
              </a:ext>
            </a:extLst>
          </p:cNvPr>
          <p:cNvSpPr/>
          <p:nvPr userDrawn="1"/>
        </p:nvSpPr>
        <p:spPr>
          <a:xfrm>
            <a:off x="7507458" y="550940"/>
            <a:ext cx="3760414" cy="365277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3000">
                <a:schemeClr val="accent1">
                  <a:alpha val="5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9A308F-1647-348A-5A03-D7D8688BAE31}"/>
              </a:ext>
            </a:extLst>
          </p:cNvPr>
          <p:cNvSpPr/>
          <p:nvPr userDrawn="1"/>
        </p:nvSpPr>
        <p:spPr>
          <a:xfrm>
            <a:off x="8212497" y="2367678"/>
            <a:ext cx="3564031" cy="3182222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4000">
                <a:schemeClr val="accent4">
                  <a:alpha val="4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r>
              <a:rPr lang="en-US"/>
              <a:t>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9ABA39-E854-972B-AE1A-6C39B6C3A7B4}"/>
              </a:ext>
            </a:extLst>
          </p:cNvPr>
          <p:cNvSpPr/>
          <p:nvPr userDrawn="1"/>
        </p:nvSpPr>
        <p:spPr>
          <a:xfrm>
            <a:off x="8220515" y="1533904"/>
            <a:ext cx="1868107" cy="1604631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74000">
                <a:schemeClr val="accent5">
                  <a:alpha val="2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r>
              <a:rPr lang="en-US"/>
              <a:t> </a:t>
            </a:r>
          </a:p>
        </p:txBody>
      </p:sp>
      <p:pic>
        <p:nvPicPr>
          <p:cNvPr id="13" name="Picture 12" descr="A person wearing a hard hat and glasses&#10;&#10;Description automatically generated">
            <a:extLst>
              <a:ext uri="{FF2B5EF4-FFF2-40B4-BE49-F238E27FC236}">
                <a16:creationId xmlns:a16="http://schemas.microsoft.com/office/drawing/2014/main" id="{0CC56128-FADD-FC35-12C2-C78AB997C0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3425" y="0"/>
            <a:ext cx="4705350" cy="685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028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EC2A360F-18B8-5B98-5597-F4E8EF02F75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A313774-B878-5D64-63D4-91BAB91E2DD7}"/>
              </a:ext>
            </a:extLst>
          </p:cNvPr>
          <p:cNvSpPr/>
          <p:nvPr userDrawn="1"/>
        </p:nvSpPr>
        <p:spPr>
          <a:xfrm flipH="1">
            <a:off x="0" y="0"/>
            <a:ext cx="11112500" cy="6858000"/>
          </a:xfrm>
          <a:prstGeom prst="rect">
            <a:avLst/>
          </a:prstGeom>
          <a:gradFill flip="none" rotWithShape="1">
            <a:gsLst>
              <a:gs pos="75000">
                <a:schemeClr val="bg1">
                  <a:alpha val="85000"/>
                </a:schemeClr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A06A76-EBFC-775E-24F0-1622C84EE303}"/>
              </a:ext>
            </a:extLst>
          </p:cNvPr>
          <p:cNvSpPr/>
          <p:nvPr userDrawn="1"/>
        </p:nvSpPr>
        <p:spPr>
          <a:xfrm>
            <a:off x="0" y="-2"/>
            <a:ext cx="6565900" cy="6096002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57127C-A6B5-D95A-1124-60B517FF1071}"/>
              </a:ext>
            </a:extLst>
          </p:cNvPr>
          <p:cNvSpPr/>
          <p:nvPr userDrawn="1"/>
        </p:nvSpPr>
        <p:spPr>
          <a:xfrm>
            <a:off x="6108700" y="5638800"/>
            <a:ext cx="914400" cy="914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339585-0541-8459-F544-5474258DD4CB}"/>
              </a:ext>
            </a:extLst>
          </p:cNvPr>
          <p:cNvGrpSpPr/>
          <p:nvPr userDrawn="1"/>
        </p:nvGrpSpPr>
        <p:grpSpPr>
          <a:xfrm>
            <a:off x="0" y="0"/>
            <a:ext cx="2743200" cy="457200"/>
            <a:chOff x="0" y="0"/>
            <a:chExt cx="2286000" cy="4572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440AADD-F92E-D2A6-FA11-02633561107D}"/>
                </a:ext>
              </a:extLst>
            </p:cNvPr>
            <p:cNvSpPr/>
            <p:nvPr userDrawn="1"/>
          </p:nvSpPr>
          <p:spPr>
            <a:xfrm>
              <a:off x="0" y="0"/>
              <a:ext cx="1371600" cy="45720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3979889-2793-A302-4B7D-AEB3F5570DC7}"/>
                </a:ext>
              </a:extLst>
            </p:cNvPr>
            <p:cNvSpPr/>
            <p:nvPr userDrawn="1"/>
          </p:nvSpPr>
          <p:spPr>
            <a:xfrm>
              <a:off x="1371600" y="0"/>
              <a:ext cx="457200" cy="457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05ADF42-F132-2479-A18D-CD9CEF49D833}"/>
                </a:ext>
              </a:extLst>
            </p:cNvPr>
            <p:cNvSpPr/>
            <p:nvPr userDrawn="1"/>
          </p:nvSpPr>
          <p:spPr>
            <a:xfrm>
              <a:off x="1828800" y="0"/>
              <a:ext cx="457200" cy="4572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895546D2-5FAB-2B67-878C-0059A8507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472" y="3168652"/>
            <a:ext cx="5680528" cy="1624236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FB40E0B5-95B4-CEDA-152D-7A8E4A641C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5472" y="4981774"/>
            <a:ext cx="5680528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70333233-2C8F-0772-6064-E6008E692C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472" y="1340901"/>
            <a:ext cx="230522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71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2260175-2A72-244D-1BF9-8B2B51036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92EE6B-632B-02F1-4582-B1D18BFDB2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100" y="1333500"/>
            <a:ext cx="11353800" cy="4762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A83ACD6-7F33-5FB4-A4B4-5057AFEEA2E0}"/>
              </a:ext>
            </a:extLst>
          </p:cNvPr>
          <p:cNvCxnSpPr>
            <a:cxnSpLocks/>
          </p:cNvCxnSpPr>
          <p:nvPr userDrawn="1"/>
        </p:nvCxnSpPr>
        <p:spPr>
          <a:xfrm>
            <a:off x="419100" y="1040222"/>
            <a:ext cx="117729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7C43B36-FB22-BFD1-10F0-FC2C5090AC27}"/>
              </a:ext>
            </a:extLst>
          </p:cNvPr>
          <p:cNvSpPr/>
          <p:nvPr userDrawn="1"/>
        </p:nvSpPr>
        <p:spPr>
          <a:xfrm>
            <a:off x="419100" y="6518387"/>
            <a:ext cx="192881" cy="107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l"/>
            <a:fld id="{3DB7A996-6C95-4EC8-A797-E13778FADE0A}" type="slidenum">
              <a:rPr lang="en-US" sz="700" smtClean="0">
                <a:solidFill>
                  <a:schemeClr val="tx2"/>
                </a:solidFill>
              </a:rPr>
              <a:pPr algn="l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DC2BD36-D8AB-63B4-2E7C-5D7D457094FE}"/>
              </a:ext>
            </a:extLst>
          </p:cNvPr>
          <p:cNvCxnSpPr>
            <a:cxnSpLocks/>
          </p:cNvCxnSpPr>
          <p:nvPr userDrawn="1"/>
        </p:nvCxnSpPr>
        <p:spPr>
          <a:xfrm>
            <a:off x="613371" y="6450237"/>
            <a:ext cx="0" cy="244023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E6442DF-AF2F-E7DA-57A7-4EB395AAA27A}"/>
              </a:ext>
            </a:extLst>
          </p:cNvPr>
          <p:cNvSpPr/>
          <p:nvPr userDrawn="1"/>
        </p:nvSpPr>
        <p:spPr>
          <a:xfrm>
            <a:off x="419100" y="1017362"/>
            <a:ext cx="952500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884B0B1-9733-6C81-778A-60AAC0F9A5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6480628"/>
            <a:ext cx="923925" cy="18324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0796D99-9F21-F6CF-FCEC-B82A60A4322E}"/>
              </a:ext>
            </a:extLst>
          </p:cNvPr>
          <p:cNvGrpSpPr/>
          <p:nvPr userDrawn="1"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5A33C78-6B09-1A8E-C401-3D3602F9EBA7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8ABA70-5195-A017-F22B-9DB2E5585BFC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42A52C-31C7-A2F3-DD39-08DD72E7AF8B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1291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2" userDrawn="1">
          <p15:clr>
            <a:srgbClr val="5ACBF0"/>
          </p15:clr>
        </p15:guide>
        <p15:guide id="2" pos="3768" userDrawn="1">
          <p15:clr>
            <a:srgbClr val="5ACBF0"/>
          </p15:clr>
        </p15:guide>
        <p15:guide id="3" orient="horz" pos="2292" userDrawn="1">
          <p15:clr>
            <a:srgbClr val="5ACBF0"/>
          </p15:clr>
        </p15:guide>
        <p15:guide id="4" orient="horz" pos="2436" userDrawn="1">
          <p15:clr>
            <a:srgbClr val="5ACBF0"/>
          </p15:clr>
        </p15:guide>
        <p15:guide id="5" pos="2001" userDrawn="1">
          <p15:clr>
            <a:srgbClr val="5ACBF0"/>
          </p15:clr>
        </p15:guide>
        <p15:guide id="6" pos="2136" userDrawn="1">
          <p15:clr>
            <a:srgbClr val="5ACBF0"/>
          </p15:clr>
        </p15:guide>
        <p15:guide id="7" pos="5531" userDrawn="1">
          <p15:clr>
            <a:srgbClr val="5ACBF0"/>
          </p15:clr>
        </p15:guide>
        <p15:guide id="8" pos="5675" userDrawn="1">
          <p15:clr>
            <a:srgbClr val="5ACBF0"/>
          </p15:clr>
        </p15:guide>
        <p15:guide id="9" pos="2592" userDrawn="1">
          <p15:clr>
            <a:srgbClr val="9FCC3B"/>
          </p15:clr>
        </p15:guide>
        <p15:guide id="10" pos="2736" userDrawn="1">
          <p15:clr>
            <a:srgbClr val="9FCC3B"/>
          </p15:clr>
        </p15:guide>
        <p15:guide id="11" pos="4944" userDrawn="1">
          <p15:clr>
            <a:srgbClr val="9FCC3B"/>
          </p15:clr>
        </p15:guide>
        <p15:guide id="12" pos="5088" userDrawn="1">
          <p15:clr>
            <a:srgbClr val="9FCC3B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2260175-2A72-244D-1BF9-8B2B51036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5">
            <a:extLst>
              <a:ext uri="{FF2B5EF4-FFF2-40B4-BE49-F238E27FC236}">
                <a16:creationId xmlns:a16="http://schemas.microsoft.com/office/drawing/2014/main" id="{94A1B87C-261E-724F-E242-CB0BC78E56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63629" y="4217321"/>
            <a:ext cx="1609109" cy="273132"/>
          </a:xfrm>
        </p:spPr>
        <p:txBody>
          <a:bodyPr>
            <a:noAutofit/>
          </a:bodyPr>
          <a:lstStyle>
            <a:lvl1pPr algn="l">
              <a:defRPr sz="1600" b="1" i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endParaRPr lang="en-US"/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E7024AB8-B298-0125-29F8-B4F517DB7A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63629" y="4490453"/>
            <a:ext cx="1609109" cy="194363"/>
          </a:xfrm>
        </p:spPr>
        <p:txBody>
          <a:bodyPr>
            <a:noAutofit/>
          </a:bodyPr>
          <a:lstStyle>
            <a:lvl1pPr algn="l">
              <a:defRPr sz="1200" b="0" i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6B8601AD-71A6-C650-3FD1-B5F50C3E3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63628" y="4684816"/>
            <a:ext cx="1609109" cy="387797"/>
          </a:xfrm>
        </p:spPr>
        <p:txBody>
          <a:bodyPr>
            <a:noAutofit/>
          </a:bodyPr>
          <a:lstStyle>
            <a:lvl1pPr algn="l">
              <a:defRPr sz="11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mail@bernhard.com</a:t>
            </a:r>
            <a:br>
              <a:rPr lang="en-US"/>
            </a:br>
            <a:r>
              <a:rPr lang="en-US"/>
              <a:t>M:123.123.1234</a:t>
            </a:r>
            <a:br>
              <a:rPr lang="en-US"/>
            </a:br>
            <a:endParaRPr lang="en-US"/>
          </a:p>
        </p:txBody>
      </p:sp>
      <p:sp>
        <p:nvSpPr>
          <p:cNvPr id="17" name="Text Placeholder 55">
            <a:extLst>
              <a:ext uri="{FF2B5EF4-FFF2-40B4-BE49-F238E27FC236}">
                <a16:creationId xmlns:a16="http://schemas.microsoft.com/office/drawing/2014/main" id="{7E8852A9-4DE7-E824-A42B-169B5F52B9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7537" y="4217321"/>
            <a:ext cx="1609109" cy="273132"/>
          </a:xfrm>
        </p:spPr>
        <p:txBody>
          <a:bodyPr>
            <a:noAutofit/>
          </a:bodyPr>
          <a:lstStyle>
            <a:lvl1pPr algn="l">
              <a:defRPr sz="1600" b="1" i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endParaRPr lang="en-US"/>
          </a:p>
        </p:txBody>
      </p:sp>
      <p:sp>
        <p:nvSpPr>
          <p:cNvPr id="18" name="Text Placeholder 55">
            <a:extLst>
              <a:ext uri="{FF2B5EF4-FFF2-40B4-BE49-F238E27FC236}">
                <a16:creationId xmlns:a16="http://schemas.microsoft.com/office/drawing/2014/main" id="{46CDE4F6-AE5E-EA67-D408-51C92A6255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77537" y="4490453"/>
            <a:ext cx="1609109" cy="194363"/>
          </a:xfrm>
        </p:spPr>
        <p:txBody>
          <a:bodyPr>
            <a:noAutofit/>
          </a:bodyPr>
          <a:lstStyle>
            <a:lvl1pPr algn="l">
              <a:defRPr sz="1200" b="0" i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19" name="Text Placeholder 55">
            <a:extLst>
              <a:ext uri="{FF2B5EF4-FFF2-40B4-BE49-F238E27FC236}">
                <a16:creationId xmlns:a16="http://schemas.microsoft.com/office/drawing/2014/main" id="{D693D309-98D9-54D7-3EA3-0C86DD84C6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536" y="4684816"/>
            <a:ext cx="1609109" cy="387797"/>
          </a:xfrm>
        </p:spPr>
        <p:txBody>
          <a:bodyPr>
            <a:noAutofit/>
          </a:bodyPr>
          <a:lstStyle>
            <a:lvl1pPr algn="l">
              <a:defRPr sz="11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mail@bernhard.com</a:t>
            </a:r>
            <a:br>
              <a:rPr lang="en-US"/>
            </a:br>
            <a:r>
              <a:rPr lang="en-US"/>
              <a:t>M:123.123.1234</a:t>
            </a:r>
            <a:br>
              <a:rPr lang="en-US"/>
            </a:br>
            <a:endParaRPr lang="en-US"/>
          </a:p>
        </p:txBody>
      </p:sp>
      <p:sp>
        <p:nvSpPr>
          <p:cNvPr id="20" name="Text Placeholder 55">
            <a:extLst>
              <a:ext uri="{FF2B5EF4-FFF2-40B4-BE49-F238E27FC236}">
                <a16:creationId xmlns:a16="http://schemas.microsoft.com/office/drawing/2014/main" id="{6BEA510A-A6CF-EFFC-529F-D52EC82362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00346" y="4217321"/>
            <a:ext cx="1609109" cy="273132"/>
          </a:xfrm>
        </p:spPr>
        <p:txBody>
          <a:bodyPr>
            <a:noAutofit/>
          </a:bodyPr>
          <a:lstStyle>
            <a:lvl1pPr algn="l">
              <a:defRPr sz="1600" b="1" i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endParaRPr lang="en-US"/>
          </a:p>
        </p:txBody>
      </p:sp>
      <p:sp>
        <p:nvSpPr>
          <p:cNvPr id="21" name="Text Placeholder 55">
            <a:extLst>
              <a:ext uri="{FF2B5EF4-FFF2-40B4-BE49-F238E27FC236}">
                <a16:creationId xmlns:a16="http://schemas.microsoft.com/office/drawing/2014/main" id="{2DC12F1A-BB90-A8BF-11C7-1BEBA92F4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00346" y="4490453"/>
            <a:ext cx="1609109" cy="194363"/>
          </a:xfrm>
        </p:spPr>
        <p:txBody>
          <a:bodyPr>
            <a:noAutofit/>
          </a:bodyPr>
          <a:lstStyle>
            <a:lvl1pPr algn="l">
              <a:defRPr sz="1200" b="0" i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22" name="Text Placeholder 55">
            <a:extLst>
              <a:ext uri="{FF2B5EF4-FFF2-40B4-BE49-F238E27FC236}">
                <a16:creationId xmlns:a16="http://schemas.microsoft.com/office/drawing/2014/main" id="{1F4B5B35-9BE0-985D-208C-BF7413E3E5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00345" y="4684816"/>
            <a:ext cx="1609109" cy="387797"/>
          </a:xfrm>
        </p:spPr>
        <p:txBody>
          <a:bodyPr>
            <a:noAutofit/>
          </a:bodyPr>
          <a:lstStyle>
            <a:lvl1pPr algn="l">
              <a:defRPr sz="11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mail@bernhard.com</a:t>
            </a:r>
            <a:br>
              <a:rPr lang="en-US"/>
            </a:br>
            <a:r>
              <a:rPr lang="en-US"/>
              <a:t>M:123.123.1234</a:t>
            </a:r>
            <a:br>
              <a:rPr lang="en-US"/>
            </a:br>
            <a:endParaRPr lang="en-US"/>
          </a:p>
        </p:txBody>
      </p:sp>
      <p:sp>
        <p:nvSpPr>
          <p:cNvPr id="23" name="Text Placeholder 55">
            <a:extLst>
              <a:ext uri="{FF2B5EF4-FFF2-40B4-BE49-F238E27FC236}">
                <a16:creationId xmlns:a16="http://schemas.microsoft.com/office/drawing/2014/main" id="{23ED7026-371F-3DB8-49D5-110A9BAC07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5357" y="4217321"/>
            <a:ext cx="1609109" cy="273132"/>
          </a:xfrm>
        </p:spPr>
        <p:txBody>
          <a:bodyPr>
            <a:noAutofit/>
          </a:bodyPr>
          <a:lstStyle>
            <a:lvl1pPr algn="l">
              <a:defRPr sz="1600" b="1" i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endParaRPr lang="en-US"/>
          </a:p>
        </p:txBody>
      </p:sp>
      <p:sp>
        <p:nvSpPr>
          <p:cNvPr id="24" name="Text Placeholder 55">
            <a:extLst>
              <a:ext uri="{FF2B5EF4-FFF2-40B4-BE49-F238E27FC236}">
                <a16:creationId xmlns:a16="http://schemas.microsoft.com/office/drawing/2014/main" id="{63C5B18F-8ABC-D578-2D95-5AAD17E8D2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5357" y="4490453"/>
            <a:ext cx="1609109" cy="194363"/>
          </a:xfrm>
        </p:spPr>
        <p:txBody>
          <a:bodyPr>
            <a:noAutofit/>
          </a:bodyPr>
          <a:lstStyle>
            <a:lvl1pPr algn="l">
              <a:defRPr sz="1200" b="0" i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25" name="Text Placeholder 55">
            <a:extLst>
              <a:ext uri="{FF2B5EF4-FFF2-40B4-BE49-F238E27FC236}">
                <a16:creationId xmlns:a16="http://schemas.microsoft.com/office/drawing/2014/main" id="{895A04BD-7E56-CD74-7260-FFA92DD2F4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5356" y="4684816"/>
            <a:ext cx="1609109" cy="387797"/>
          </a:xfrm>
        </p:spPr>
        <p:txBody>
          <a:bodyPr>
            <a:noAutofit/>
          </a:bodyPr>
          <a:lstStyle>
            <a:lvl1pPr algn="l">
              <a:defRPr sz="11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mail@bernhard.com</a:t>
            </a:r>
            <a:br>
              <a:rPr lang="en-US"/>
            </a:br>
            <a:r>
              <a:rPr lang="en-US"/>
              <a:t>M:123.123.1234</a:t>
            </a:r>
            <a:br>
              <a:rPr lang="en-US"/>
            </a:br>
            <a:endParaRPr lang="en-US"/>
          </a:p>
        </p:txBody>
      </p:sp>
      <p:sp>
        <p:nvSpPr>
          <p:cNvPr id="26" name="Text Placeholder 55">
            <a:extLst>
              <a:ext uri="{FF2B5EF4-FFF2-40B4-BE49-F238E27FC236}">
                <a16:creationId xmlns:a16="http://schemas.microsoft.com/office/drawing/2014/main" id="{C1845FAF-42C5-9AC4-EF5F-D30ADD8BDF0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28164" y="4217321"/>
            <a:ext cx="1609109" cy="273132"/>
          </a:xfrm>
        </p:spPr>
        <p:txBody>
          <a:bodyPr>
            <a:noAutofit/>
          </a:bodyPr>
          <a:lstStyle>
            <a:lvl1pPr algn="l">
              <a:defRPr sz="1600" b="1" i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endParaRPr lang="en-US"/>
          </a:p>
        </p:txBody>
      </p:sp>
      <p:sp>
        <p:nvSpPr>
          <p:cNvPr id="27" name="Text Placeholder 55">
            <a:extLst>
              <a:ext uri="{FF2B5EF4-FFF2-40B4-BE49-F238E27FC236}">
                <a16:creationId xmlns:a16="http://schemas.microsoft.com/office/drawing/2014/main" id="{3331ED55-5BDA-0F9B-4069-52E9648A50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8164" y="4490453"/>
            <a:ext cx="1609109" cy="194363"/>
          </a:xfrm>
        </p:spPr>
        <p:txBody>
          <a:bodyPr>
            <a:noAutofit/>
          </a:bodyPr>
          <a:lstStyle>
            <a:lvl1pPr algn="l">
              <a:defRPr sz="1200" b="0" i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28" name="Text Placeholder 55">
            <a:extLst>
              <a:ext uri="{FF2B5EF4-FFF2-40B4-BE49-F238E27FC236}">
                <a16:creationId xmlns:a16="http://schemas.microsoft.com/office/drawing/2014/main" id="{733D08FD-5935-F060-E50A-EC0407F6BC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28163" y="4684816"/>
            <a:ext cx="1609109" cy="387797"/>
          </a:xfrm>
        </p:spPr>
        <p:txBody>
          <a:bodyPr>
            <a:noAutofit/>
          </a:bodyPr>
          <a:lstStyle>
            <a:lvl1pPr algn="l">
              <a:defRPr sz="11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mail@bernhard.com</a:t>
            </a:r>
            <a:br>
              <a:rPr lang="en-US"/>
            </a:br>
            <a:r>
              <a:rPr lang="en-US"/>
              <a:t>M:123.123.1234</a:t>
            </a:r>
            <a:br>
              <a:rPr lang="en-US"/>
            </a:br>
            <a:endParaRPr lang="en-US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18FB7A4D-8832-A8B5-A0CC-05987397AEF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463628" y="2133996"/>
            <a:ext cx="1609109" cy="1836720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1" name="Picture Placeholder 29">
            <a:extLst>
              <a:ext uri="{FF2B5EF4-FFF2-40B4-BE49-F238E27FC236}">
                <a16:creationId xmlns:a16="http://schemas.microsoft.com/office/drawing/2014/main" id="{5D1080DB-D873-5820-53AA-8BE0004E92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377535" y="2127992"/>
            <a:ext cx="1609109" cy="1836720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2" name="Picture Placeholder 29">
            <a:extLst>
              <a:ext uri="{FF2B5EF4-FFF2-40B4-BE49-F238E27FC236}">
                <a16:creationId xmlns:a16="http://schemas.microsoft.com/office/drawing/2014/main" id="{A3C45CE3-1438-E09D-5D66-7AEB4D6040F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300345" y="2110575"/>
            <a:ext cx="1609109" cy="183672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29">
            <a:extLst>
              <a:ext uri="{FF2B5EF4-FFF2-40B4-BE49-F238E27FC236}">
                <a16:creationId xmlns:a16="http://schemas.microsoft.com/office/drawing/2014/main" id="{89C67120-7D6D-F84B-577D-4B8D6F81558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223155" y="2110575"/>
            <a:ext cx="1609109" cy="183672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29">
            <a:extLst>
              <a:ext uri="{FF2B5EF4-FFF2-40B4-BE49-F238E27FC236}">
                <a16:creationId xmlns:a16="http://schemas.microsoft.com/office/drawing/2014/main" id="{A6516479-9997-E63E-D07D-2844A1FD9E2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119263" y="2110575"/>
            <a:ext cx="1609109" cy="183672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656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2" userDrawn="1">
          <p15:clr>
            <a:srgbClr val="5ACBF0"/>
          </p15:clr>
        </p15:guide>
        <p15:guide id="2" pos="3768" userDrawn="1">
          <p15:clr>
            <a:srgbClr val="5ACBF0"/>
          </p15:clr>
        </p15:guide>
        <p15:guide id="3" orient="horz" pos="2292" userDrawn="1">
          <p15:clr>
            <a:srgbClr val="5ACBF0"/>
          </p15:clr>
        </p15:guide>
        <p15:guide id="4" orient="horz" pos="2436" userDrawn="1">
          <p15:clr>
            <a:srgbClr val="5ACBF0"/>
          </p15:clr>
        </p15:guide>
        <p15:guide id="5" pos="2001" userDrawn="1">
          <p15:clr>
            <a:srgbClr val="5ACBF0"/>
          </p15:clr>
        </p15:guide>
        <p15:guide id="6" pos="2136" userDrawn="1">
          <p15:clr>
            <a:srgbClr val="5ACBF0"/>
          </p15:clr>
        </p15:guide>
        <p15:guide id="7" pos="5531" userDrawn="1">
          <p15:clr>
            <a:srgbClr val="5ACBF0"/>
          </p15:clr>
        </p15:guide>
        <p15:guide id="8" pos="5675" userDrawn="1">
          <p15:clr>
            <a:srgbClr val="5ACBF0"/>
          </p15:clr>
        </p15:guide>
        <p15:guide id="9" pos="2592" userDrawn="1">
          <p15:clr>
            <a:srgbClr val="9FCC3B"/>
          </p15:clr>
        </p15:guide>
        <p15:guide id="10" pos="2736" userDrawn="1">
          <p15:clr>
            <a:srgbClr val="9FCC3B"/>
          </p15:clr>
        </p15:guide>
        <p15:guide id="11" pos="4944" userDrawn="1">
          <p15:clr>
            <a:srgbClr val="9FCC3B"/>
          </p15:clr>
        </p15:guide>
        <p15:guide id="12" pos="5088" userDrawn="1">
          <p15:clr>
            <a:srgbClr val="9FCC3B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2260175-2A72-244D-1BF9-8B2B51036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188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2" userDrawn="1">
          <p15:clr>
            <a:srgbClr val="5ACBF0"/>
          </p15:clr>
        </p15:guide>
        <p15:guide id="2" pos="3768" userDrawn="1">
          <p15:clr>
            <a:srgbClr val="5ACBF0"/>
          </p15:clr>
        </p15:guide>
        <p15:guide id="3" orient="horz" pos="2292" userDrawn="1">
          <p15:clr>
            <a:srgbClr val="5ACBF0"/>
          </p15:clr>
        </p15:guide>
        <p15:guide id="4" orient="horz" pos="2436" userDrawn="1">
          <p15:clr>
            <a:srgbClr val="5ACBF0"/>
          </p15:clr>
        </p15:guide>
        <p15:guide id="5" pos="2001" userDrawn="1">
          <p15:clr>
            <a:srgbClr val="5ACBF0"/>
          </p15:clr>
        </p15:guide>
        <p15:guide id="6" pos="2136" userDrawn="1">
          <p15:clr>
            <a:srgbClr val="5ACBF0"/>
          </p15:clr>
        </p15:guide>
        <p15:guide id="7" pos="5531" userDrawn="1">
          <p15:clr>
            <a:srgbClr val="5ACBF0"/>
          </p15:clr>
        </p15:guide>
        <p15:guide id="8" pos="5675" userDrawn="1">
          <p15:clr>
            <a:srgbClr val="5ACBF0"/>
          </p15:clr>
        </p15:guide>
        <p15:guide id="9" pos="2592" userDrawn="1">
          <p15:clr>
            <a:srgbClr val="9FCC3B"/>
          </p15:clr>
        </p15:guide>
        <p15:guide id="10" pos="2736" userDrawn="1">
          <p15:clr>
            <a:srgbClr val="9FCC3B"/>
          </p15:clr>
        </p15:guide>
        <p15:guide id="11" pos="4944" userDrawn="1">
          <p15:clr>
            <a:srgbClr val="9FCC3B"/>
          </p15:clr>
        </p15:guide>
        <p15:guide id="12" pos="5088" userDrawn="1">
          <p15:clr>
            <a:srgbClr val="9FCC3B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60F8-74CF-8DF6-CE5A-4F6ED0FD1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060"/>
            <a:ext cx="1135380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2">
            <a:extLst>
              <a:ext uri="{FF2B5EF4-FFF2-40B4-BE49-F238E27FC236}">
                <a16:creationId xmlns:a16="http://schemas.microsoft.com/office/drawing/2014/main" id="{5E73D657-A062-3766-8D27-DB59C4BE50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859251"/>
            <a:ext cx="11353800" cy="246221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DFFF182-0AA0-6A4A-6DF7-DAB2D34D9FA6}"/>
              </a:ext>
            </a:extLst>
          </p:cNvPr>
          <p:cNvCxnSpPr>
            <a:cxnSpLocks/>
          </p:cNvCxnSpPr>
          <p:nvPr userDrawn="1"/>
        </p:nvCxnSpPr>
        <p:spPr>
          <a:xfrm>
            <a:off x="419100" y="1309627"/>
            <a:ext cx="117729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84CE2914-B823-38BF-C157-7D3F0D5D2754}"/>
              </a:ext>
            </a:extLst>
          </p:cNvPr>
          <p:cNvSpPr/>
          <p:nvPr userDrawn="1"/>
        </p:nvSpPr>
        <p:spPr>
          <a:xfrm>
            <a:off x="419100" y="6518387"/>
            <a:ext cx="192881" cy="107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l"/>
            <a:fld id="{3DB7A996-6C95-4EC8-A797-E13778FADE0A}" type="slidenum">
              <a:rPr lang="en-US" sz="700" smtClean="0">
                <a:solidFill>
                  <a:schemeClr val="tx2"/>
                </a:solidFill>
              </a:rPr>
              <a:pPr algn="l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33E5D5-801B-5C1F-4A03-376D8B801E1E}"/>
              </a:ext>
            </a:extLst>
          </p:cNvPr>
          <p:cNvSpPr/>
          <p:nvPr userDrawn="1"/>
        </p:nvSpPr>
        <p:spPr>
          <a:xfrm>
            <a:off x="419100" y="1286767"/>
            <a:ext cx="952500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C20B8630-D7C2-0652-7BCA-14A5BD31E2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6480628"/>
            <a:ext cx="923925" cy="183245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2BE3D14-ACD9-02D5-7E72-BC47A33C00AC}"/>
              </a:ext>
            </a:extLst>
          </p:cNvPr>
          <p:cNvGrpSpPr/>
          <p:nvPr userDrawn="1"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F51FE19-1080-BBE3-3B46-8864542368B6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59CD19D-AE8F-D8B7-A875-68636DE77836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677459E-8855-6BC8-7A3C-C969F5D651F0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5149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icture Placeholder 74">
            <a:extLst>
              <a:ext uri="{FF2B5EF4-FFF2-40B4-BE49-F238E27FC236}">
                <a16:creationId xmlns:a16="http://schemas.microsoft.com/office/drawing/2014/main" id="{6E8CF36E-052A-F3C5-4D8D-072DDE3987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15750"/>
          </a:xfrm>
          <a:custGeom>
            <a:avLst/>
            <a:gdLst>
              <a:gd name="connsiteX0" fmla="*/ 0 w 6096000"/>
              <a:gd name="connsiteY0" fmla="*/ 6286499 h 6815750"/>
              <a:gd name="connsiteX1" fmla="*/ 6096000 w 6096000"/>
              <a:gd name="connsiteY1" fmla="*/ 6286499 h 6815750"/>
              <a:gd name="connsiteX2" fmla="*/ 6096000 w 6096000"/>
              <a:gd name="connsiteY2" fmla="*/ 6815750 h 6815750"/>
              <a:gd name="connsiteX3" fmla="*/ 0 w 6096000"/>
              <a:gd name="connsiteY3" fmla="*/ 6815750 h 6815750"/>
              <a:gd name="connsiteX4" fmla="*/ 0 w 6096000"/>
              <a:gd name="connsiteY4" fmla="*/ 0 h 6815750"/>
              <a:gd name="connsiteX5" fmla="*/ 6096000 w 6096000"/>
              <a:gd name="connsiteY5" fmla="*/ 0 h 6815750"/>
              <a:gd name="connsiteX6" fmla="*/ 6096000 w 6096000"/>
              <a:gd name="connsiteY6" fmla="*/ 5499822 h 6815750"/>
              <a:gd name="connsiteX7" fmla="*/ 0 w 6096000"/>
              <a:gd name="connsiteY7" fmla="*/ 5499822 h 681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15750">
                <a:moveTo>
                  <a:pt x="0" y="6286499"/>
                </a:moveTo>
                <a:lnTo>
                  <a:pt x="6096000" y="6286499"/>
                </a:lnTo>
                <a:lnTo>
                  <a:pt x="6096000" y="6815750"/>
                </a:lnTo>
                <a:lnTo>
                  <a:pt x="0" y="6815750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5499822"/>
                </a:lnTo>
                <a:lnTo>
                  <a:pt x="0" y="549982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600"/>
            </a:lvl1pPr>
          </a:lstStyle>
          <a:p>
            <a:r>
              <a:rPr lang="en-US"/>
              <a:t>Add imag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B8FC37C-2FE2-CC43-8501-99553B9DBA6E}"/>
              </a:ext>
            </a:extLst>
          </p:cNvPr>
          <p:cNvGrpSpPr/>
          <p:nvPr userDrawn="1"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7F75600-E0B8-2D72-9F96-2ECE0D7FF74D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3767CED-49F0-7F81-1825-6E0DDC195B67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07FF32F-8A92-6B36-EA22-E6F3CCC5B35E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A6C4B487-5EC5-9775-E8EA-5A4B318F45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67487" y="1289895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2" name="Text Placeholder 55">
            <a:extLst>
              <a:ext uri="{FF2B5EF4-FFF2-40B4-BE49-F238E27FC236}">
                <a16:creationId xmlns:a16="http://schemas.microsoft.com/office/drawing/2014/main" id="{2286C8D9-1BCF-143C-F102-402164CBF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0525" y="1474561"/>
            <a:ext cx="3761161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268894-D74E-E6F8-87BC-E0A2368966DD}"/>
              </a:ext>
            </a:extLst>
          </p:cNvPr>
          <p:cNvCxnSpPr>
            <a:cxnSpLocks/>
          </p:cNvCxnSpPr>
          <p:nvPr userDrawn="1"/>
        </p:nvCxnSpPr>
        <p:spPr>
          <a:xfrm>
            <a:off x="6567487" y="2155121"/>
            <a:ext cx="5204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87AEACD-C5EF-46FF-FE6D-0E59AE4CFC75}"/>
              </a:ext>
            </a:extLst>
          </p:cNvPr>
          <p:cNvCxnSpPr>
            <a:cxnSpLocks/>
          </p:cNvCxnSpPr>
          <p:nvPr userDrawn="1"/>
        </p:nvCxnSpPr>
        <p:spPr>
          <a:xfrm>
            <a:off x="6567487" y="3270020"/>
            <a:ext cx="5204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0F20560-EBC1-423C-DFA9-18A267069280}"/>
              </a:ext>
            </a:extLst>
          </p:cNvPr>
          <p:cNvCxnSpPr>
            <a:cxnSpLocks/>
          </p:cNvCxnSpPr>
          <p:nvPr userDrawn="1"/>
        </p:nvCxnSpPr>
        <p:spPr>
          <a:xfrm>
            <a:off x="6567487" y="4384920"/>
            <a:ext cx="5204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2120E11-5009-1510-21AD-463358A8747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094903"/>
            <a:ext cx="6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BA6AB39-7666-3642-D51C-3ACEFEFD79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6480628"/>
            <a:ext cx="923925" cy="18324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046C283-798E-0E7B-88D9-AF69F046773D}"/>
              </a:ext>
            </a:extLst>
          </p:cNvPr>
          <p:cNvSpPr/>
          <p:nvPr userDrawn="1"/>
        </p:nvSpPr>
        <p:spPr>
          <a:xfrm>
            <a:off x="10022186" y="0"/>
            <a:ext cx="1749500" cy="11805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96CEE67-D66D-AD8E-A502-3AF677627E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02636" y="294584"/>
            <a:ext cx="1588599" cy="307777"/>
          </a:xfrm>
        </p:spPr>
        <p:txBody>
          <a:bodyPr>
            <a:noAutofit/>
          </a:bodyPr>
          <a:lstStyle>
            <a:lvl1pPr algn="ctr"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4" name="Picture Placeholder 49">
            <a:extLst>
              <a:ext uri="{FF2B5EF4-FFF2-40B4-BE49-F238E27FC236}">
                <a16:creationId xmlns:a16="http://schemas.microsoft.com/office/drawing/2014/main" id="{2B281EBC-C33A-F107-3191-007159F0395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7487" y="148018"/>
            <a:ext cx="1843182" cy="798867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C7624A22-316C-1229-198B-E05B2470BD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02636" y="688768"/>
            <a:ext cx="1588599" cy="184666"/>
          </a:xfrm>
        </p:spPr>
        <p:txBody>
          <a:bodyPr>
            <a:noAutofit/>
          </a:bodyPr>
          <a:lstStyle>
            <a:lvl1pPr algn="ct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F2198BCA-7E03-2AF8-8692-0FBD7D9ECF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7487" y="2404794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0" name="Text Placeholder 55">
            <a:extLst>
              <a:ext uri="{FF2B5EF4-FFF2-40B4-BE49-F238E27FC236}">
                <a16:creationId xmlns:a16="http://schemas.microsoft.com/office/drawing/2014/main" id="{9781E478-3252-3DBA-0D3A-4E1556AF3B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7487" y="3519694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5">
            <a:extLst>
              <a:ext uri="{FF2B5EF4-FFF2-40B4-BE49-F238E27FC236}">
                <a16:creationId xmlns:a16="http://schemas.microsoft.com/office/drawing/2014/main" id="{EBA99D57-A4A3-E1B9-8B1C-7DFFF89E1B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7487" y="4634594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11100D8B-0243-B5FD-A7FA-C889C43657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525" y="2589461"/>
            <a:ext cx="3761161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64" name="Text Placeholder 55">
            <a:extLst>
              <a:ext uri="{FF2B5EF4-FFF2-40B4-BE49-F238E27FC236}">
                <a16:creationId xmlns:a16="http://schemas.microsoft.com/office/drawing/2014/main" id="{4D76A570-1E4E-5A13-C5D5-6C414D7A9B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10525" y="3704361"/>
            <a:ext cx="3761161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65" name="Text Placeholder 55">
            <a:extLst>
              <a:ext uri="{FF2B5EF4-FFF2-40B4-BE49-F238E27FC236}">
                <a16:creationId xmlns:a16="http://schemas.microsoft.com/office/drawing/2014/main" id="{F56B5B97-2D1D-0A48-96C7-82EEE76A05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10525" y="4819260"/>
            <a:ext cx="3761161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4166CBE-44A3-7E89-1178-ED399EA5B477}"/>
              </a:ext>
            </a:extLst>
          </p:cNvPr>
          <p:cNvSpPr/>
          <p:nvPr userDrawn="1"/>
        </p:nvSpPr>
        <p:spPr>
          <a:xfrm>
            <a:off x="0" y="5499822"/>
            <a:ext cx="11771686" cy="7866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6" name="Text Placeholder 55">
            <a:extLst>
              <a:ext uri="{FF2B5EF4-FFF2-40B4-BE49-F238E27FC236}">
                <a16:creationId xmlns:a16="http://schemas.microsoft.com/office/drawing/2014/main" id="{BC44872F-9363-2DC3-5D45-A1353A746F2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0314" y="5770050"/>
            <a:ext cx="2056940" cy="246221"/>
          </a:xfrm>
        </p:spPr>
        <p:txBody>
          <a:bodyPr>
            <a:noAutofit/>
          </a:bodyPr>
          <a:lstStyle>
            <a:lvl1pPr algn="l"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7" name="Text Placeholder 55">
            <a:extLst>
              <a:ext uri="{FF2B5EF4-FFF2-40B4-BE49-F238E27FC236}">
                <a16:creationId xmlns:a16="http://schemas.microsoft.com/office/drawing/2014/main" id="{C31628DC-1B44-CEF4-890C-7CE12C7654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02563" y="5649459"/>
            <a:ext cx="8358699" cy="487403"/>
          </a:xfrm>
        </p:spPr>
        <p:txBody>
          <a:bodyPr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C476C3-472E-7210-DB67-3A0446680077}"/>
              </a:ext>
            </a:extLst>
          </p:cNvPr>
          <p:cNvCxnSpPr>
            <a:cxnSpLocks/>
          </p:cNvCxnSpPr>
          <p:nvPr userDrawn="1"/>
        </p:nvCxnSpPr>
        <p:spPr>
          <a:xfrm>
            <a:off x="2839908" y="5672917"/>
            <a:ext cx="0" cy="44048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6399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Case Study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18A9BDCD-624C-4B61-8068-1D9C7049CEE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 sz="1600"/>
            </a:lvl1pPr>
          </a:lstStyle>
          <a:p>
            <a:r>
              <a:rPr lang="en-US"/>
              <a:t>Add imag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B8FC37C-2FE2-CC43-8501-99553B9DBA6E}"/>
              </a:ext>
            </a:extLst>
          </p:cNvPr>
          <p:cNvGrpSpPr/>
          <p:nvPr userDrawn="1"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7F75600-E0B8-2D72-9F96-2ECE0D7FF74D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3767CED-49F0-7F81-1825-6E0DDC195B67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07FF32F-8A92-6B36-EA22-E6F3CCC5B35E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A6C4B487-5EC5-9775-E8EA-5A4B318F45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67487" y="1388230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2" name="Text Placeholder 55">
            <a:extLst>
              <a:ext uri="{FF2B5EF4-FFF2-40B4-BE49-F238E27FC236}">
                <a16:creationId xmlns:a16="http://schemas.microsoft.com/office/drawing/2014/main" id="{2286C8D9-1BCF-143C-F102-402164CBF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000" y="1572896"/>
            <a:ext cx="3237686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268894-D74E-E6F8-87BC-E0A2368966DD}"/>
              </a:ext>
            </a:extLst>
          </p:cNvPr>
          <p:cNvCxnSpPr>
            <a:cxnSpLocks/>
          </p:cNvCxnSpPr>
          <p:nvPr userDrawn="1"/>
        </p:nvCxnSpPr>
        <p:spPr>
          <a:xfrm>
            <a:off x="6567487" y="2351791"/>
            <a:ext cx="5204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87AEACD-C5EF-46FF-FE6D-0E59AE4CFC75}"/>
              </a:ext>
            </a:extLst>
          </p:cNvPr>
          <p:cNvCxnSpPr>
            <a:cxnSpLocks/>
          </p:cNvCxnSpPr>
          <p:nvPr userDrawn="1"/>
        </p:nvCxnSpPr>
        <p:spPr>
          <a:xfrm>
            <a:off x="6567487" y="3663360"/>
            <a:ext cx="5204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0F20560-EBC1-423C-DFA9-18A267069280}"/>
              </a:ext>
            </a:extLst>
          </p:cNvPr>
          <p:cNvCxnSpPr>
            <a:cxnSpLocks/>
          </p:cNvCxnSpPr>
          <p:nvPr userDrawn="1"/>
        </p:nvCxnSpPr>
        <p:spPr>
          <a:xfrm>
            <a:off x="6567487" y="4974929"/>
            <a:ext cx="5204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2120E11-5009-1510-21AD-463358A8747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040222"/>
            <a:ext cx="6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BA6AB39-7666-3642-D51C-3ACEFEFD79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6480628"/>
            <a:ext cx="923925" cy="18324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046C283-798E-0E7B-88D9-AF69F046773D}"/>
              </a:ext>
            </a:extLst>
          </p:cNvPr>
          <p:cNvSpPr/>
          <p:nvPr userDrawn="1"/>
        </p:nvSpPr>
        <p:spPr>
          <a:xfrm>
            <a:off x="10022186" y="0"/>
            <a:ext cx="1749500" cy="11805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96CEE67-D66D-AD8E-A502-3AF677627E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02636" y="294584"/>
            <a:ext cx="1588599" cy="307777"/>
          </a:xfrm>
        </p:spPr>
        <p:txBody>
          <a:bodyPr>
            <a:noAutofit/>
          </a:bodyPr>
          <a:lstStyle>
            <a:lvl1pPr algn="ctr"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4" name="Picture Placeholder 49">
            <a:extLst>
              <a:ext uri="{FF2B5EF4-FFF2-40B4-BE49-F238E27FC236}">
                <a16:creationId xmlns:a16="http://schemas.microsoft.com/office/drawing/2014/main" id="{2B281EBC-C33A-F107-3191-007159F0395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7487" y="101044"/>
            <a:ext cx="1843182" cy="798867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C7624A22-316C-1229-198B-E05B2470BD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02636" y="688768"/>
            <a:ext cx="1588599" cy="215444"/>
          </a:xfrm>
        </p:spPr>
        <p:txBody>
          <a:bodyPr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F2198BCA-7E03-2AF8-8692-0FBD7D9ECF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7487" y="2699799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0" name="Text Placeholder 55">
            <a:extLst>
              <a:ext uri="{FF2B5EF4-FFF2-40B4-BE49-F238E27FC236}">
                <a16:creationId xmlns:a16="http://schemas.microsoft.com/office/drawing/2014/main" id="{9781E478-3252-3DBA-0D3A-4E1556AF3B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7487" y="4011368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5">
            <a:extLst>
              <a:ext uri="{FF2B5EF4-FFF2-40B4-BE49-F238E27FC236}">
                <a16:creationId xmlns:a16="http://schemas.microsoft.com/office/drawing/2014/main" id="{EBA99D57-A4A3-E1B9-8B1C-7DFFF89E1B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7487" y="5322937"/>
            <a:ext cx="1242235" cy="615553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11100D8B-0243-B5FD-A7FA-C889C43657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34000" y="2884465"/>
            <a:ext cx="3237686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64" name="Text Placeholder 55">
            <a:extLst>
              <a:ext uri="{FF2B5EF4-FFF2-40B4-BE49-F238E27FC236}">
                <a16:creationId xmlns:a16="http://schemas.microsoft.com/office/drawing/2014/main" id="{4D76A570-1E4E-5A13-C5D5-6C414D7A9B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34000" y="4196034"/>
            <a:ext cx="3237686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65" name="Text Placeholder 55">
            <a:extLst>
              <a:ext uri="{FF2B5EF4-FFF2-40B4-BE49-F238E27FC236}">
                <a16:creationId xmlns:a16="http://schemas.microsoft.com/office/drawing/2014/main" id="{F56B5B97-2D1D-0A48-96C7-82EEE76A05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34000" y="5507603"/>
            <a:ext cx="3237686" cy="246221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8078807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-form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49">
            <a:extLst>
              <a:ext uri="{FF2B5EF4-FFF2-40B4-BE49-F238E27FC236}">
                <a16:creationId xmlns:a16="http://schemas.microsoft.com/office/drawing/2014/main" id="{A1393472-ADC0-3C71-58CA-C1BF907F04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0050" y="101044"/>
            <a:ext cx="1843182" cy="798867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1DDD1E8-EAC6-E04F-25E1-56593FF9DFF1}"/>
              </a:ext>
            </a:extLst>
          </p:cNvPr>
          <p:cNvSpPr>
            <a:spLocks/>
          </p:cNvSpPr>
          <p:nvPr userDrawn="1"/>
        </p:nvSpPr>
        <p:spPr>
          <a:xfrm>
            <a:off x="8839198" y="-3470"/>
            <a:ext cx="3352802" cy="686146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FA0A7482-5721-2607-1944-59CD6AB144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58300" y="436572"/>
            <a:ext cx="2514600" cy="215444"/>
          </a:xfrm>
        </p:spPr>
        <p:txBody>
          <a:bodyPr>
            <a:noAutofit/>
          </a:bodyPr>
          <a:lstStyle>
            <a:lvl1pPr>
              <a:defRPr sz="1400" b="1" cap="all" baseline="0">
                <a:solidFill>
                  <a:schemeClr val="bg1"/>
                </a:solidFill>
                <a:latin typeface="+mj-lt"/>
              </a:defRPr>
            </a:lvl1pPr>
            <a:lvl2pPr>
              <a:defRPr sz="1400" b="1" cap="all" baseline="0">
                <a:solidFill>
                  <a:schemeClr val="accent1"/>
                </a:solidFill>
                <a:latin typeface="+mj-lt"/>
              </a:defRPr>
            </a:lvl2pPr>
            <a:lvl3pPr>
              <a:defRPr sz="1400" b="1" cap="all" baseline="0">
                <a:solidFill>
                  <a:schemeClr val="accent1"/>
                </a:solidFill>
                <a:latin typeface="+mj-lt"/>
              </a:defRPr>
            </a:lvl3pPr>
            <a:lvl4pPr>
              <a:defRPr sz="1400" b="1" cap="all" baseline="0">
                <a:solidFill>
                  <a:schemeClr val="accent1"/>
                </a:solidFill>
                <a:latin typeface="+mj-lt"/>
              </a:defRPr>
            </a:lvl4pPr>
            <a:lvl5pPr>
              <a:defRPr sz="1400" b="1" cap="all" baseline="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8C3CF15-C6B9-24B5-24BB-D0F17D360916}"/>
              </a:ext>
            </a:extLst>
          </p:cNvPr>
          <p:cNvCxnSpPr>
            <a:cxnSpLocks/>
          </p:cNvCxnSpPr>
          <p:nvPr userDrawn="1"/>
        </p:nvCxnSpPr>
        <p:spPr>
          <a:xfrm>
            <a:off x="9258300" y="750941"/>
            <a:ext cx="2514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ontent Placeholder 72">
            <a:extLst>
              <a:ext uri="{FF2B5EF4-FFF2-40B4-BE49-F238E27FC236}">
                <a16:creationId xmlns:a16="http://schemas.microsoft.com/office/drawing/2014/main" id="{F07751DF-DBC4-8E2D-019E-DFE0DEC07FF2}"/>
              </a:ext>
            </a:extLst>
          </p:cNvPr>
          <p:cNvSpPr>
            <a:spLocks noGrp="1"/>
          </p:cNvSpPr>
          <p:nvPr userDrawn="1">
            <p:ph sz="quarter" idx="23"/>
          </p:nvPr>
        </p:nvSpPr>
        <p:spPr>
          <a:xfrm>
            <a:off x="9258300" y="924180"/>
            <a:ext cx="2514600" cy="5718326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33DA3A61-A690-594D-6205-55B1731D205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0948" y="1182567"/>
            <a:ext cx="4855902" cy="215444"/>
          </a:xfrm>
        </p:spPr>
        <p:txBody>
          <a:bodyPr>
            <a:noAutofit/>
          </a:bodyPr>
          <a:lstStyle>
            <a:lvl1pPr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 b="1" cap="all" baseline="0">
                <a:solidFill>
                  <a:schemeClr val="accent1"/>
                </a:solidFill>
                <a:latin typeface="+mj-lt"/>
              </a:defRPr>
            </a:lvl2pPr>
            <a:lvl3pPr>
              <a:defRPr sz="1400" b="1" cap="all" baseline="0">
                <a:solidFill>
                  <a:schemeClr val="accent1"/>
                </a:solidFill>
                <a:latin typeface="+mj-lt"/>
              </a:defRPr>
            </a:lvl3pPr>
            <a:lvl4pPr>
              <a:defRPr sz="1400" b="1" cap="all" baseline="0">
                <a:solidFill>
                  <a:schemeClr val="accent1"/>
                </a:solidFill>
                <a:latin typeface="+mj-lt"/>
              </a:defRPr>
            </a:lvl4pPr>
            <a:lvl5pPr>
              <a:defRPr sz="1400" b="1" cap="all" baseline="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192EBA0-3EC8-4DEA-DEDB-E25B3ACAE27D}"/>
              </a:ext>
            </a:extLst>
          </p:cNvPr>
          <p:cNvCxnSpPr>
            <a:cxnSpLocks/>
          </p:cNvCxnSpPr>
          <p:nvPr userDrawn="1"/>
        </p:nvCxnSpPr>
        <p:spPr>
          <a:xfrm>
            <a:off x="419100" y="1454528"/>
            <a:ext cx="48577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ontent Placeholder 72">
            <a:extLst>
              <a:ext uri="{FF2B5EF4-FFF2-40B4-BE49-F238E27FC236}">
                <a16:creationId xmlns:a16="http://schemas.microsoft.com/office/drawing/2014/main" id="{197A76AE-DB13-50AD-A2F6-5307D710EFE3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419100" y="1635384"/>
            <a:ext cx="4857750" cy="3193406"/>
          </a:xfrm>
        </p:spPr>
        <p:txBody>
          <a:bodyPr>
            <a:noAutofit/>
          </a:bodyPr>
          <a:lstStyle>
            <a:lvl1pPr>
              <a:defRPr sz="1000">
                <a:solidFill>
                  <a:schemeClr val="tx2"/>
                </a:solidFill>
              </a:defRPr>
            </a:lvl1pPr>
            <a:lvl2pPr>
              <a:defRPr sz="10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2" name="Text Placeholder 60">
            <a:extLst>
              <a:ext uri="{FF2B5EF4-FFF2-40B4-BE49-F238E27FC236}">
                <a16:creationId xmlns:a16="http://schemas.microsoft.com/office/drawing/2014/main" id="{9222CC6A-8B31-EA84-BBDD-9CAFEE5411F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024752" y="1182567"/>
            <a:ext cx="2437220" cy="215444"/>
          </a:xfrm>
        </p:spPr>
        <p:txBody>
          <a:bodyPr>
            <a:noAutofit/>
          </a:bodyPr>
          <a:lstStyle>
            <a:lvl1pPr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 b="1" cap="all" baseline="0">
                <a:solidFill>
                  <a:schemeClr val="accent1"/>
                </a:solidFill>
                <a:latin typeface="+mj-lt"/>
              </a:defRPr>
            </a:lvl2pPr>
            <a:lvl3pPr>
              <a:defRPr sz="1400" b="1" cap="all" baseline="0">
                <a:solidFill>
                  <a:schemeClr val="accent1"/>
                </a:solidFill>
                <a:latin typeface="+mj-lt"/>
              </a:defRPr>
            </a:lvl3pPr>
            <a:lvl4pPr>
              <a:defRPr sz="1400" b="1" cap="all" baseline="0">
                <a:solidFill>
                  <a:schemeClr val="accent1"/>
                </a:solidFill>
                <a:latin typeface="+mj-lt"/>
              </a:defRPr>
            </a:lvl4pPr>
            <a:lvl5pPr>
              <a:defRPr sz="1400" b="1" cap="all" baseline="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60">
            <a:extLst>
              <a:ext uri="{FF2B5EF4-FFF2-40B4-BE49-F238E27FC236}">
                <a16:creationId xmlns:a16="http://schemas.microsoft.com/office/drawing/2014/main" id="{D8B3DD57-6E53-F924-674D-0C8F8C4E734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024753" y="3117759"/>
            <a:ext cx="2437220" cy="215444"/>
          </a:xfrm>
        </p:spPr>
        <p:txBody>
          <a:bodyPr>
            <a:noAutofit/>
          </a:bodyPr>
          <a:lstStyle>
            <a:lvl1pPr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 b="1" cap="all" baseline="0">
                <a:solidFill>
                  <a:schemeClr val="accent1"/>
                </a:solidFill>
                <a:latin typeface="+mj-lt"/>
              </a:defRPr>
            </a:lvl2pPr>
            <a:lvl3pPr>
              <a:defRPr sz="1400" b="1" cap="all" baseline="0">
                <a:solidFill>
                  <a:schemeClr val="accent1"/>
                </a:solidFill>
                <a:latin typeface="+mj-lt"/>
              </a:defRPr>
            </a:lvl3pPr>
            <a:lvl4pPr>
              <a:defRPr sz="1400" b="1" cap="all" baseline="0">
                <a:solidFill>
                  <a:schemeClr val="accent1"/>
                </a:solidFill>
                <a:latin typeface="+mj-lt"/>
              </a:defRPr>
            </a:lvl4pPr>
            <a:lvl5pPr>
              <a:defRPr sz="1400" b="1" cap="all" baseline="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9" name="Table Placeholder 67">
            <a:extLst>
              <a:ext uri="{FF2B5EF4-FFF2-40B4-BE49-F238E27FC236}">
                <a16:creationId xmlns:a16="http://schemas.microsoft.com/office/drawing/2014/main" id="{F36E335B-E9FA-3C3A-E168-9433987C5F11}"/>
              </a:ext>
            </a:extLst>
          </p:cNvPr>
          <p:cNvSpPr>
            <a:spLocks noGrp="1"/>
          </p:cNvSpPr>
          <p:nvPr userDrawn="1">
            <p:ph type="tbl" sz="quarter" idx="20"/>
          </p:nvPr>
        </p:nvSpPr>
        <p:spPr>
          <a:xfrm>
            <a:off x="6024753" y="3457249"/>
            <a:ext cx="2437219" cy="1371600"/>
          </a:xfrm>
        </p:spPr>
        <p:txBody>
          <a:bodyPr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68" name="Table Placeholder 67">
            <a:extLst>
              <a:ext uri="{FF2B5EF4-FFF2-40B4-BE49-F238E27FC236}">
                <a16:creationId xmlns:a16="http://schemas.microsoft.com/office/drawing/2014/main" id="{D7138B75-DEED-2BFC-280A-36E8D2BF57B7}"/>
              </a:ext>
            </a:extLst>
          </p:cNvPr>
          <p:cNvSpPr>
            <a:spLocks noGrp="1"/>
          </p:cNvSpPr>
          <p:nvPr userDrawn="1">
            <p:ph type="tbl" sz="quarter" idx="19"/>
          </p:nvPr>
        </p:nvSpPr>
        <p:spPr>
          <a:xfrm>
            <a:off x="6024753" y="1454528"/>
            <a:ext cx="2437219" cy="1371600"/>
          </a:xfrm>
        </p:spPr>
        <p:txBody>
          <a:bodyPr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pic>
        <p:nvPicPr>
          <p:cNvPr id="48" name="Picture 47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7B2C36FE-8BBD-3193-F0EC-8A345BA199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48" y="6480628"/>
            <a:ext cx="923925" cy="183245"/>
          </a:xfrm>
          <a:prstGeom prst="rect">
            <a:avLst/>
          </a:prstGeom>
        </p:spPr>
      </p:pic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0DD72DB-2450-C34D-7912-471FA04CE0DD}"/>
              </a:ext>
            </a:extLst>
          </p:cNvPr>
          <p:cNvCxnSpPr>
            <a:cxnSpLocks/>
          </p:cNvCxnSpPr>
          <p:nvPr userDrawn="1"/>
        </p:nvCxnSpPr>
        <p:spPr>
          <a:xfrm flipH="1">
            <a:off x="5650802" y="1182567"/>
            <a:ext cx="0" cy="36837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F6F1502-6B73-67CD-7E03-E5409B5835A6}"/>
              </a:ext>
            </a:extLst>
          </p:cNvPr>
          <p:cNvGrpSpPr/>
          <p:nvPr userDrawn="1"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68224D0A-4EB0-EBDF-6BDB-82D8224F3F8C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1138535-702C-B3DF-95A8-0AE74EED0057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B360A4D-3DB0-A8C3-B528-3BFBDF797179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4" name="Picture Placeholder 49">
            <a:extLst>
              <a:ext uri="{FF2B5EF4-FFF2-40B4-BE49-F238E27FC236}">
                <a16:creationId xmlns:a16="http://schemas.microsoft.com/office/drawing/2014/main" id="{17F1883F-3688-2DF4-A808-3BD0460E3ECE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0" y="5009649"/>
            <a:ext cx="8839198" cy="1802630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 sz="1600"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66B58E7-DF12-6CE6-F59F-6F29EC2F5050}"/>
              </a:ext>
            </a:extLst>
          </p:cNvPr>
          <p:cNvCxnSpPr>
            <a:cxnSpLocks/>
          </p:cNvCxnSpPr>
          <p:nvPr userDrawn="1"/>
        </p:nvCxnSpPr>
        <p:spPr>
          <a:xfrm>
            <a:off x="419100" y="1040222"/>
            <a:ext cx="842009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6569D274-1513-6FE3-C609-DB769DF46E52}"/>
              </a:ext>
            </a:extLst>
          </p:cNvPr>
          <p:cNvSpPr/>
          <p:nvPr userDrawn="1"/>
        </p:nvSpPr>
        <p:spPr>
          <a:xfrm>
            <a:off x="419100" y="1017362"/>
            <a:ext cx="952500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2912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2AB01A-B351-F84D-D248-0B209F949F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868228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27B7D63-257C-0807-D587-92A5FF4530DB}"/>
              </a:ext>
            </a:extLst>
          </p:cNvPr>
          <p:cNvGrpSpPr/>
          <p:nvPr userDrawn="1"/>
        </p:nvGrpSpPr>
        <p:grpSpPr>
          <a:xfrm>
            <a:off x="0" y="-1"/>
            <a:ext cx="2786743" cy="2698223"/>
            <a:chOff x="0" y="-1"/>
            <a:chExt cx="2786743" cy="26982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F1AF606-5F95-F022-E4EA-9E0A0392502D}"/>
                </a:ext>
              </a:extLst>
            </p:cNvPr>
            <p:cNvSpPr/>
            <p:nvPr userDrawn="1"/>
          </p:nvSpPr>
          <p:spPr>
            <a:xfrm>
              <a:off x="0" y="-1"/>
              <a:ext cx="2366724" cy="2002823"/>
            </a:xfrm>
            <a:prstGeom prst="rect">
              <a:avLst/>
            </a:prstGeom>
            <a:gradFill flip="none" rotWithShape="1">
              <a:gsLst>
                <a:gs pos="43000">
                  <a:schemeClr val="accent1">
                    <a:alpha val="0"/>
                  </a:schemeClr>
                </a:gs>
                <a:gs pos="83000">
                  <a:schemeClr val="accent1">
                    <a:alpha val="58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/>
                <a:t>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6898930-39C8-778D-C3CF-CCA0FF0CF42C}"/>
                </a:ext>
              </a:extLst>
            </p:cNvPr>
            <p:cNvSpPr/>
            <p:nvPr userDrawn="1"/>
          </p:nvSpPr>
          <p:spPr>
            <a:xfrm>
              <a:off x="263773" y="695399"/>
              <a:ext cx="2243125" cy="2002823"/>
            </a:xfrm>
            <a:prstGeom prst="rect">
              <a:avLst/>
            </a:prstGeom>
            <a:gradFill flip="none" rotWithShape="1">
              <a:gsLst>
                <a:gs pos="46000">
                  <a:schemeClr val="accent4">
                    <a:alpha val="0"/>
                  </a:schemeClr>
                </a:gs>
                <a:gs pos="74000">
                  <a:schemeClr val="accent4"/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84F8B0-5DA5-D7BA-5A54-10C2CA6DC7E2}"/>
                </a:ext>
              </a:extLst>
            </p:cNvPr>
            <p:cNvSpPr/>
            <p:nvPr userDrawn="1"/>
          </p:nvSpPr>
          <p:spPr>
            <a:xfrm>
              <a:off x="1610996" y="324291"/>
              <a:ext cx="1175747" cy="1009921"/>
            </a:xfrm>
            <a:prstGeom prst="rect">
              <a:avLst/>
            </a:prstGeom>
            <a:gradFill flip="none" rotWithShape="1">
              <a:gsLst>
                <a:gs pos="33000">
                  <a:schemeClr val="accent5">
                    <a:alpha val="16000"/>
                  </a:schemeClr>
                </a:gs>
                <a:gs pos="74000">
                  <a:schemeClr val="accent5">
                    <a:alpha val="72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79A7D1E-522E-5C7D-D944-6729EAD83BA7}"/>
              </a:ext>
            </a:extLst>
          </p:cNvPr>
          <p:cNvSpPr/>
          <p:nvPr userDrawn="1"/>
        </p:nvSpPr>
        <p:spPr>
          <a:xfrm>
            <a:off x="48927" y="-2"/>
            <a:ext cx="12192000" cy="6858000"/>
          </a:xfrm>
          <a:prstGeom prst="rect">
            <a:avLst/>
          </a:prstGeom>
          <a:gradFill flip="none" rotWithShape="1">
            <a:gsLst>
              <a:gs pos="64000">
                <a:schemeClr val="bg1"/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4" name="Title 31">
            <a:extLst>
              <a:ext uri="{FF2B5EF4-FFF2-40B4-BE49-F238E27FC236}">
                <a16:creationId xmlns:a16="http://schemas.microsoft.com/office/drawing/2014/main" id="{59C8F063-D4B1-7FD7-73F9-8C3119DEF4A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713664" y="3196473"/>
            <a:ext cx="5692792" cy="1769801"/>
          </a:xfrm>
        </p:spPr>
        <p:txBody>
          <a:bodyPr vert="horz" wrap="square" anchor="b">
            <a:noAutofit/>
          </a:bodyPr>
          <a:lstStyle>
            <a:lvl1pPr algn="r"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9C3A5F0-48D1-2D5F-5379-0589C80DCCA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13664" y="5100404"/>
            <a:ext cx="5692792" cy="307777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6" name="Picture 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66CA7D12-EDC8-7D49-4E73-9B8ED1ED00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0686" y="858157"/>
            <a:ext cx="2425770" cy="48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822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3127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BECCA-2786-66F9-9FCF-65834A6F3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F5921C-4476-5BB7-B1D9-4BAF808401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DA1B00-298C-46B5-9BE4-78158A9BD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16D2E8-A1A6-42F0-91B7-D9FA332B9565}" type="datetimeFigureOut">
              <a:rPr lang="en-US" smtClean="0"/>
              <a:t>9/1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22AC2E-D996-B4E9-1616-7F5C0B797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34EA94-D012-2737-6776-0B900C61B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B0534-AAC0-4C9A-A907-0350FDF6B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3235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y and white squares&#10;&#10;Description automatically generated">
            <a:extLst>
              <a:ext uri="{FF2B5EF4-FFF2-40B4-BE49-F238E27FC236}">
                <a16:creationId xmlns:a16="http://schemas.microsoft.com/office/drawing/2014/main" id="{F7B8D50E-1DAF-FDA9-2817-8B1B9620FD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4650" y="0"/>
            <a:ext cx="655735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48992D1-5A72-1308-886D-E594D949EF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6000"/>
                </a:schemeClr>
              </a:gs>
              <a:gs pos="100000">
                <a:schemeClr val="bg1">
                  <a:alpha val="9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CCAE2B-14FD-FD69-2A2A-B4EB51DC910B}"/>
              </a:ext>
            </a:extLst>
          </p:cNvPr>
          <p:cNvSpPr/>
          <p:nvPr userDrawn="1"/>
        </p:nvSpPr>
        <p:spPr>
          <a:xfrm>
            <a:off x="1973655" y="-1"/>
            <a:ext cx="6355533" cy="1200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12C84B31-A016-EBFD-1CB2-A80DF35E5F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48941" y="3494655"/>
            <a:ext cx="3819645" cy="1495794"/>
          </a:xfrm>
        </p:spPr>
        <p:txBody>
          <a:bodyPr vert="horz" wrap="square" anchor="b">
            <a:normAutofit/>
          </a:bodyPr>
          <a:lstStyle>
            <a:lvl1pPr algn="l">
              <a:lnSpc>
                <a:spcPct val="90000"/>
              </a:lnSpc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5AE683F-24C8-A77B-D674-76894673FAF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948941" y="5163778"/>
            <a:ext cx="3819645" cy="307777"/>
          </a:xfrm>
        </p:spPr>
        <p:txBody>
          <a:bodyPr wrap="square"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9" name="Picture 8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52621B1-04AF-6898-B0EB-C44BEC3E5A7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8943" y="2014236"/>
            <a:ext cx="2181885" cy="43273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E5B3B87-172E-E6D4-6926-D2046432E24F}"/>
              </a:ext>
            </a:extLst>
          </p:cNvPr>
          <p:cNvCxnSpPr>
            <a:cxnSpLocks/>
          </p:cNvCxnSpPr>
          <p:nvPr userDrawn="1"/>
        </p:nvCxnSpPr>
        <p:spPr>
          <a:xfrm>
            <a:off x="7948943" y="2970815"/>
            <a:ext cx="381964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B4F5FD1-8285-C06F-C109-B6386D94D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251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4F5FD1-8285-C06F-C109-B6386D94D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 descr="A building with a glass front&#10;&#10;Description automatically generated">
            <a:extLst>
              <a:ext uri="{FF2B5EF4-FFF2-40B4-BE49-F238E27FC236}">
                <a16:creationId xmlns:a16="http://schemas.microsoft.com/office/drawing/2014/main" id="{2E3FF8E8-9064-D704-0F62-BF7145AD7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14" y="350822"/>
            <a:ext cx="6964215" cy="6156356"/>
          </a:xfrm>
          <a:custGeom>
            <a:avLst/>
            <a:gdLst>
              <a:gd name="connsiteX0" fmla="*/ 0 w 6964215"/>
              <a:gd name="connsiteY0" fmla="*/ 0 h 6156356"/>
              <a:gd name="connsiteX1" fmla="*/ 6964215 w 6964215"/>
              <a:gd name="connsiteY1" fmla="*/ 0 h 6156356"/>
              <a:gd name="connsiteX2" fmla="*/ 6964215 w 6964215"/>
              <a:gd name="connsiteY2" fmla="*/ 6156356 h 6156356"/>
              <a:gd name="connsiteX3" fmla="*/ 0 w 6964215"/>
              <a:gd name="connsiteY3" fmla="*/ 6156356 h 6156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4215" h="6156356">
                <a:moveTo>
                  <a:pt x="0" y="0"/>
                </a:moveTo>
                <a:lnTo>
                  <a:pt x="6964215" y="0"/>
                </a:lnTo>
                <a:lnTo>
                  <a:pt x="6964215" y="6156356"/>
                </a:lnTo>
                <a:lnTo>
                  <a:pt x="0" y="6156356"/>
                </a:lnTo>
                <a:close/>
              </a:path>
            </a:pathLst>
          </a:cu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FC7FA19-335A-7654-63B6-A9DE74F70860}"/>
              </a:ext>
            </a:extLst>
          </p:cNvPr>
          <p:cNvSpPr/>
          <p:nvPr userDrawn="1"/>
        </p:nvSpPr>
        <p:spPr>
          <a:xfrm>
            <a:off x="0" y="3429000"/>
            <a:ext cx="830278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67A9A3-FA65-AD74-06FD-72DA68679B82}"/>
              </a:ext>
            </a:extLst>
          </p:cNvPr>
          <p:cNvSpPr/>
          <p:nvPr userDrawn="1"/>
        </p:nvSpPr>
        <p:spPr>
          <a:xfrm>
            <a:off x="6968528" y="0"/>
            <a:ext cx="733331" cy="7333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002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uilding with a flag in front of it&#10;&#10;Description automatically generated">
            <a:extLst>
              <a:ext uri="{FF2B5EF4-FFF2-40B4-BE49-F238E27FC236}">
                <a16:creationId xmlns:a16="http://schemas.microsoft.com/office/drawing/2014/main" id="{0CA04822-1F6E-0450-A71E-A565E3D73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AC5AF33-A528-BF3A-EEB7-F7E616218B7C}"/>
              </a:ext>
            </a:extLst>
          </p:cNvPr>
          <p:cNvSpPr/>
          <p:nvPr userDrawn="1"/>
        </p:nvSpPr>
        <p:spPr>
          <a:xfrm>
            <a:off x="2503669" y="0"/>
            <a:ext cx="9684079" cy="7000433"/>
          </a:xfrm>
          <a:prstGeom prst="rect">
            <a:avLst/>
          </a:prstGeom>
          <a:gradFill flip="none" rotWithShape="1">
            <a:gsLst>
              <a:gs pos="64000">
                <a:schemeClr val="bg1"/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7B7D63-257C-0807-D587-92A5FF4530DB}"/>
              </a:ext>
            </a:extLst>
          </p:cNvPr>
          <p:cNvGrpSpPr/>
          <p:nvPr userDrawn="1"/>
        </p:nvGrpSpPr>
        <p:grpSpPr>
          <a:xfrm>
            <a:off x="304800" y="82550"/>
            <a:ext cx="2786743" cy="2698223"/>
            <a:chOff x="0" y="-1"/>
            <a:chExt cx="2786743" cy="26982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F1AF606-5F95-F022-E4EA-9E0A0392502D}"/>
                </a:ext>
              </a:extLst>
            </p:cNvPr>
            <p:cNvSpPr/>
            <p:nvPr userDrawn="1"/>
          </p:nvSpPr>
          <p:spPr>
            <a:xfrm>
              <a:off x="0" y="-1"/>
              <a:ext cx="2366724" cy="2002823"/>
            </a:xfrm>
            <a:prstGeom prst="rect">
              <a:avLst/>
            </a:prstGeom>
            <a:gradFill flip="none" rotWithShape="1">
              <a:gsLst>
                <a:gs pos="43000">
                  <a:schemeClr val="accent1">
                    <a:alpha val="0"/>
                  </a:schemeClr>
                </a:gs>
                <a:gs pos="83000">
                  <a:schemeClr val="accent1">
                    <a:alpha val="58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/>
                <a:t>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6898930-39C8-778D-C3CF-CCA0FF0CF42C}"/>
                </a:ext>
              </a:extLst>
            </p:cNvPr>
            <p:cNvSpPr/>
            <p:nvPr userDrawn="1"/>
          </p:nvSpPr>
          <p:spPr>
            <a:xfrm>
              <a:off x="263773" y="695399"/>
              <a:ext cx="2243125" cy="2002823"/>
            </a:xfrm>
            <a:prstGeom prst="rect">
              <a:avLst/>
            </a:prstGeom>
            <a:gradFill flip="none" rotWithShape="1">
              <a:gsLst>
                <a:gs pos="46000">
                  <a:schemeClr val="accent4">
                    <a:alpha val="0"/>
                  </a:schemeClr>
                </a:gs>
                <a:gs pos="74000">
                  <a:schemeClr val="accent4"/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84F8B0-5DA5-D7BA-5A54-10C2CA6DC7E2}"/>
                </a:ext>
              </a:extLst>
            </p:cNvPr>
            <p:cNvSpPr/>
            <p:nvPr userDrawn="1"/>
          </p:nvSpPr>
          <p:spPr>
            <a:xfrm>
              <a:off x="1610996" y="324291"/>
              <a:ext cx="1175747" cy="1009921"/>
            </a:xfrm>
            <a:prstGeom prst="rect">
              <a:avLst/>
            </a:prstGeom>
            <a:gradFill flip="none" rotWithShape="1">
              <a:gsLst>
                <a:gs pos="33000">
                  <a:schemeClr val="accent5">
                    <a:alpha val="16000"/>
                  </a:schemeClr>
                </a:gs>
                <a:gs pos="74000">
                  <a:schemeClr val="accent5">
                    <a:alpha val="72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79A7D1E-522E-5C7D-D944-6729EAD83BA7}"/>
              </a:ext>
            </a:extLst>
          </p:cNvPr>
          <p:cNvSpPr/>
          <p:nvPr userDrawn="1"/>
        </p:nvSpPr>
        <p:spPr>
          <a:xfrm>
            <a:off x="-823370" y="0"/>
            <a:ext cx="12884151" cy="6959158"/>
          </a:xfrm>
          <a:prstGeom prst="rect">
            <a:avLst/>
          </a:prstGeom>
          <a:gradFill flip="none" rotWithShape="1">
            <a:gsLst>
              <a:gs pos="64000">
                <a:schemeClr val="bg1"/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4" name="Title 31">
            <a:extLst>
              <a:ext uri="{FF2B5EF4-FFF2-40B4-BE49-F238E27FC236}">
                <a16:creationId xmlns:a16="http://schemas.microsoft.com/office/drawing/2014/main" id="{59C8F063-D4B1-7FD7-73F9-8C3119DEF4A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713664" y="3196473"/>
            <a:ext cx="5692792" cy="1769801"/>
          </a:xfrm>
        </p:spPr>
        <p:txBody>
          <a:bodyPr vert="horz" wrap="square" anchor="b">
            <a:noAutofit/>
          </a:bodyPr>
          <a:lstStyle>
            <a:lvl1pPr algn="r"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9C3A5F0-48D1-2D5F-5379-0589C80DCCA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13664" y="5100404"/>
            <a:ext cx="5692792" cy="307777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7" name="Picture 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1EB1595-76EB-1802-FF06-9327DD8A9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63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uilding with a mural on the side&#10;&#10;Description automatically generated">
            <a:extLst>
              <a:ext uri="{FF2B5EF4-FFF2-40B4-BE49-F238E27FC236}">
                <a16:creationId xmlns:a16="http://schemas.microsoft.com/office/drawing/2014/main" id="{333F7796-401D-307D-8EBE-6ADB17083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405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F35E059-44FB-8029-BA55-7C747EAC7914}"/>
              </a:ext>
            </a:extLst>
          </p:cNvPr>
          <p:cNvSpPr/>
          <p:nvPr userDrawn="1"/>
        </p:nvSpPr>
        <p:spPr>
          <a:xfrm>
            <a:off x="0" y="0"/>
            <a:ext cx="12192000" cy="6940549"/>
          </a:xfrm>
          <a:prstGeom prst="rect">
            <a:avLst/>
          </a:prstGeom>
          <a:gradFill flip="none" rotWithShape="1">
            <a:gsLst>
              <a:gs pos="75000">
                <a:schemeClr val="bg1"/>
              </a:gs>
              <a:gs pos="0">
                <a:srgbClr val="95BCCC">
                  <a:alpha val="4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7B7D63-257C-0807-D587-92A5FF4530DB}"/>
              </a:ext>
            </a:extLst>
          </p:cNvPr>
          <p:cNvGrpSpPr/>
          <p:nvPr userDrawn="1"/>
        </p:nvGrpSpPr>
        <p:grpSpPr>
          <a:xfrm>
            <a:off x="304800" y="82550"/>
            <a:ext cx="2786743" cy="2698223"/>
            <a:chOff x="0" y="-1"/>
            <a:chExt cx="2786743" cy="26982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F1AF606-5F95-F022-E4EA-9E0A0392502D}"/>
                </a:ext>
              </a:extLst>
            </p:cNvPr>
            <p:cNvSpPr/>
            <p:nvPr userDrawn="1"/>
          </p:nvSpPr>
          <p:spPr>
            <a:xfrm>
              <a:off x="0" y="-1"/>
              <a:ext cx="2366724" cy="2002823"/>
            </a:xfrm>
            <a:prstGeom prst="rect">
              <a:avLst/>
            </a:prstGeom>
            <a:gradFill flip="none" rotWithShape="1">
              <a:gsLst>
                <a:gs pos="43000">
                  <a:schemeClr val="accent1">
                    <a:alpha val="0"/>
                  </a:schemeClr>
                </a:gs>
                <a:gs pos="83000">
                  <a:schemeClr val="accent1">
                    <a:alpha val="58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/>
                <a:t>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6898930-39C8-778D-C3CF-CCA0FF0CF42C}"/>
                </a:ext>
              </a:extLst>
            </p:cNvPr>
            <p:cNvSpPr/>
            <p:nvPr userDrawn="1"/>
          </p:nvSpPr>
          <p:spPr>
            <a:xfrm>
              <a:off x="263773" y="695399"/>
              <a:ext cx="2243125" cy="2002823"/>
            </a:xfrm>
            <a:prstGeom prst="rect">
              <a:avLst/>
            </a:prstGeom>
            <a:gradFill flip="none" rotWithShape="1">
              <a:gsLst>
                <a:gs pos="46000">
                  <a:schemeClr val="accent4">
                    <a:alpha val="0"/>
                  </a:schemeClr>
                </a:gs>
                <a:gs pos="74000">
                  <a:schemeClr val="accent4"/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84F8B0-5DA5-D7BA-5A54-10C2CA6DC7E2}"/>
                </a:ext>
              </a:extLst>
            </p:cNvPr>
            <p:cNvSpPr/>
            <p:nvPr userDrawn="1"/>
          </p:nvSpPr>
          <p:spPr>
            <a:xfrm>
              <a:off x="1610996" y="324291"/>
              <a:ext cx="1175747" cy="1009921"/>
            </a:xfrm>
            <a:prstGeom prst="rect">
              <a:avLst/>
            </a:prstGeom>
            <a:gradFill flip="none" rotWithShape="1">
              <a:gsLst>
                <a:gs pos="33000">
                  <a:schemeClr val="accent5">
                    <a:alpha val="16000"/>
                  </a:schemeClr>
                </a:gs>
                <a:gs pos="74000">
                  <a:schemeClr val="accent5">
                    <a:alpha val="72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79A7D1E-522E-5C7D-D944-6729EAD83BA7}"/>
              </a:ext>
            </a:extLst>
          </p:cNvPr>
          <p:cNvSpPr/>
          <p:nvPr userDrawn="1"/>
        </p:nvSpPr>
        <p:spPr>
          <a:xfrm>
            <a:off x="-132564" y="-15415"/>
            <a:ext cx="12884151" cy="7002394"/>
          </a:xfrm>
          <a:prstGeom prst="rect">
            <a:avLst/>
          </a:prstGeom>
          <a:gradFill flip="none" rotWithShape="1">
            <a:gsLst>
              <a:gs pos="64000">
                <a:schemeClr val="bg1"/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4" name="Title 31">
            <a:extLst>
              <a:ext uri="{FF2B5EF4-FFF2-40B4-BE49-F238E27FC236}">
                <a16:creationId xmlns:a16="http://schemas.microsoft.com/office/drawing/2014/main" id="{59C8F063-D4B1-7FD7-73F9-8C3119DEF4A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713664" y="3196473"/>
            <a:ext cx="5692792" cy="1769801"/>
          </a:xfrm>
        </p:spPr>
        <p:txBody>
          <a:bodyPr vert="horz" wrap="square" anchor="b">
            <a:noAutofit/>
          </a:bodyPr>
          <a:lstStyle>
            <a:lvl1pPr algn="r"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9C3A5F0-48D1-2D5F-5379-0589C80DCCA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13664" y="5100404"/>
            <a:ext cx="5692792" cy="307777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7" name="Picture 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1EB1595-76EB-1802-FF06-9327DD8A9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229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uilding with a street and flags&#10;&#10;Description automatically generated with medium confidence">
            <a:extLst>
              <a:ext uri="{FF2B5EF4-FFF2-40B4-BE49-F238E27FC236}">
                <a16:creationId xmlns:a16="http://schemas.microsoft.com/office/drawing/2014/main" id="{489875EE-97EB-E8F2-6D15-9A83098EC8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298B316-67A1-CB71-856D-01DFDF2046F0}"/>
              </a:ext>
            </a:extLst>
          </p:cNvPr>
          <p:cNvSpPr/>
          <p:nvPr userDrawn="1"/>
        </p:nvSpPr>
        <p:spPr>
          <a:xfrm>
            <a:off x="0" y="-12412"/>
            <a:ext cx="12280899" cy="6870412"/>
          </a:xfrm>
          <a:prstGeom prst="rect">
            <a:avLst/>
          </a:prstGeom>
          <a:gradFill flip="none" rotWithShape="1">
            <a:gsLst>
              <a:gs pos="75000">
                <a:schemeClr val="bg1"/>
              </a:gs>
              <a:gs pos="0">
                <a:srgbClr val="95BCCC">
                  <a:alpha val="4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7B7D63-257C-0807-D587-92A5FF4530DB}"/>
              </a:ext>
            </a:extLst>
          </p:cNvPr>
          <p:cNvGrpSpPr/>
          <p:nvPr userDrawn="1"/>
        </p:nvGrpSpPr>
        <p:grpSpPr>
          <a:xfrm>
            <a:off x="304800" y="82550"/>
            <a:ext cx="2786743" cy="2698223"/>
            <a:chOff x="0" y="-1"/>
            <a:chExt cx="2786743" cy="26982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F1AF606-5F95-F022-E4EA-9E0A0392502D}"/>
                </a:ext>
              </a:extLst>
            </p:cNvPr>
            <p:cNvSpPr/>
            <p:nvPr userDrawn="1"/>
          </p:nvSpPr>
          <p:spPr>
            <a:xfrm>
              <a:off x="0" y="-1"/>
              <a:ext cx="2366724" cy="2002823"/>
            </a:xfrm>
            <a:prstGeom prst="rect">
              <a:avLst/>
            </a:prstGeom>
            <a:gradFill flip="none" rotWithShape="1">
              <a:gsLst>
                <a:gs pos="43000">
                  <a:schemeClr val="accent1">
                    <a:alpha val="0"/>
                  </a:schemeClr>
                </a:gs>
                <a:gs pos="83000">
                  <a:schemeClr val="accent1">
                    <a:alpha val="58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/>
                <a:t>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6898930-39C8-778D-C3CF-CCA0FF0CF42C}"/>
                </a:ext>
              </a:extLst>
            </p:cNvPr>
            <p:cNvSpPr/>
            <p:nvPr userDrawn="1"/>
          </p:nvSpPr>
          <p:spPr>
            <a:xfrm>
              <a:off x="263773" y="695399"/>
              <a:ext cx="2243125" cy="2002823"/>
            </a:xfrm>
            <a:prstGeom prst="rect">
              <a:avLst/>
            </a:prstGeom>
            <a:gradFill flip="none" rotWithShape="1">
              <a:gsLst>
                <a:gs pos="46000">
                  <a:schemeClr val="accent4">
                    <a:alpha val="0"/>
                  </a:schemeClr>
                </a:gs>
                <a:gs pos="74000">
                  <a:schemeClr val="accent4"/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84F8B0-5DA5-D7BA-5A54-10C2CA6DC7E2}"/>
                </a:ext>
              </a:extLst>
            </p:cNvPr>
            <p:cNvSpPr/>
            <p:nvPr userDrawn="1"/>
          </p:nvSpPr>
          <p:spPr>
            <a:xfrm>
              <a:off x="1610996" y="324291"/>
              <a:ext cx="1175747" cy="1009921"/>
            </a:xfrm>
            <a:prstGeom prst="rect">
              <a:avLst/>
            </a:prstGeom>
            <a:gradFill flip="none" rotWithShape="1">
              <a:gsLst>
                <a:gs pos="33000">
                  <a:schemeClr val="accent5">
                    <a:alpha val="16000"/>
                  </a:schemeClr>
                </a:gs>
                <a:gs pos="74000">
                  <a:schemeClr val="accent5">
                    <a:alpha val="72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79A7D1E-522E-5C7D-D944-6729EAD83BA7}"/>
              </a:ext>
            </a:extLst>
          </p:cNvPr>
          <p:cNvSpPr/>
          <p:nvPr userDrawn="1"/>
        </p:nvSpPr>
        <p:spPr>
          <a:xfrm>
            <a:off x="-692151" y="0"/>
            <a:ext cx="12884151" cy="6870412"/>
          </a:xfrm>
          <a:prstGeom prst="rect">
            <a:avLst/>
          </a:prstGeom>
          <a:gradFill flip="none" rotWithShape="1">
            <a:gsLst>
              <a:gs pos="64000">
                <a:schemeClr val="bg1"/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4" name="Title 31">
            <a:extLst>
              <a:ext uri="{FF2B5EF4-FFF2-40B4-BE49-F238E27FC236}">
                <a16:creationId xmlns:a16="http://schemas.microsoft.com/office/drawing/2014/main" id="{59C8F063-D4B1-7FD7-73F9-8C3119DEF4A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713664" y="3196473"/>
            <a:ext cx="5692792" cy="1769801"/>
          </a:xfrm>
        </p:spPr>
        <p:txBody>
          <a:bodyPr vert="horz" wrap="square" anchor="b">
            <a:noAutofit/>
          </a:bodyPr>
          <a:lstStyle>
            <a:lvl1pPr algn="r"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9C3A5F0-48D1-2D5F-5379-0589C80DCCA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13664" y="5100404"/>
            <a:ext cx="5692792" cy="307777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7" name="Picture 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1EB1595-76EB-1802-FF06-9327DD8A9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57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arge building with flowers in front of it&#10;&#10;Description automatically generated">
            <a:extLst>
              <a:ext uri="{FF2B5EF4-FFF2-40B4-BE49-F238E27FC236}">
                <a16:creationId xmlns:a16="http://schemas.microsoft.com/office/drawing/2014/main" id="{68376392-7921-0025-7DB0-EA977B60C8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456925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E8AB1BB-5751-8D96-E500-620CC2383154}"/>
              </a:ext>
            </a:extLst>
          </p:cNvPr>
          <p:cNvSpPr/>
          <p:nvPr userDrawn="1"/>
        </p:nvSpPr>
        <p:spPr>
          <a:xfrm>
            <a:off x="0" y="-2"/>
            <a:ext cx="12192000" cy="6858001"/>
          </a:xfrm>
          <a:prstGeom prst="rect">
            <a:avLst/>
          </a:prstGeom>
          <a:gradFill flip="none" rotWithShape="1">
            <a:gsLst>
              <a:gs pos="75000">
                <a:schemeClr val="bg1"/>
              </a:gs>
              <a:gs pos="0">
                <a:srgbClr val="95BCCC">
                  <a:alpha val="4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7B7D63-257C-0807-D587-92A5FF4530DB}"/>
              </a:ext>
            </a:extLst>
          </p:cNvPr>
          <p:cNvGrpSpPr/>
          <p:nvPr userDrawn="1"/>
        </p:nvGrpSpPr>
        <p:grpSpPr>
          <a:xfrm>
            <a:off x="304800" y="82550"/>
            <a:ext cx="2786743" cy="2698223"/>
            <a:chOff x="0" y="-1"/>
            <a:chExt cx="2786743" cy="26982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F1AF606-5F95-F022-E4EA-9E0A0392502D}"/>
                </a:ext>
              </a:extLst>
            </p:cNvPr>
            <p:cNvSpPr/>
            <p:nvPr userDrawn="1"/>
          </p:nvSpPr>
          <p:spPr>
            <a:xfrm>
              <a:off x="0" y="-1"/>
              <a:ext cx="2366724" cy="2002823"/>
            </a:xfrm>
            <a:prstGeom prst="rect">
              <a:avLst/>
            </a:prstGeom>
            <a:gradFill flip="none" rotWithShape="1">
              <a:gsLst>
                <a:gs pos="43000">
                  <a:schemeClr val="accent1">
                    <a:alpha val="0"/>
                  </a:schemeClr>
                </a:gs>
                <a:gs pos="83000">
                  <a:schemeClr val="accent1">
                    <a:alpha val="58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/>
                <a:t>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6898930-39C8-778D-C3CF-CCA0FF0CF42C}"/>
                </a:ext>
              </a:extLst>
            </p:cNvPr>
            <p:cNvSpPr/>
            <p:nvPr userDrawn="1"/>
          </p:nvSpPr>
          <p:spPr>
            <a:xfrm>
              <a:off x="263773" y="695399"/>
              <a:ext cx="2243125" cy="2002823"/>
            </a:xfrm>
            <a:prstGeom prst="rect">
              <a:avLst/>
            </a:prstGeom>
            <a:gradFill flip="none" rotWithShape="1">
              <a:gsLst>
                <a:gs pos="46000">
                  <a:schemeClr val="accent4">
                    <a:alpha val="0"/>
                  </a:schemeClr>
                </a:gs>
                <a:gs pos="74000">
                  <a:schemeClr val="accent4"/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84F8B0-5DA5-D7BA-5A54-10C2CA6DC7E2}"/>
                </a:ext>
              </a:extLst>
            </p:cNvPr>
            <p:cNvSpPr/>
            <p:nvPr userDrawn="1"/>
          </p:nvSpPr>
          <p:spPr>
            <a:xfrm>
              <a:off x="1610996" y="324291"/>
              <a:ext cx="1175747" cy="1009921"/>
            </a:xfrm>
            <a:prstGeom prst="rect">
              <a:avLst/>
            </a:prstGeom>
            <a:gradFill flip="none" rotWithShape="1">
              <a:gsLst>
                <a:gs pos="33000">
                  <a:schemeClr val="accent5">
                    <a:alpha val="16000"/>
                  </a:schemeClr>
                </a:gs>
                <a:gs pos="74000">
                  <a:schemeClr val="accent5">
                    <a:alpha val="72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</p:grpSp>
      <p:sp>
        <p:nvSpPr>
          <p:cNvPr id="4" name="Title 31">
            <a:extLst>
              <a:ext uri="{FF2B5EF4-FFF2-40B4-BE49-F238E27FC236}">
                <a16:creationId xmlns:a16="http://schemas.microsoft.com/office/drawing/2014/main" id="{59C8F063-D4B1-7FD7-73F9-8C3119DEF4A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713664" y="3196473"/>
            <a:ext cx="5692792" cy="1769801"/>
          </a:xfrm>
        </p:spPr>
        <p:txBody>
          <a:bodyPr vert="horz" wrap="square" anchor="b">
            <a:noAutofit/>
          </a:bodyPr>
          <a:lstStyle>
            <a:lvl1pPr algn="r"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9C3A5F0-48D1-2D5F-5379-0589C80DCCA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13664" y="5100404"/>
            <a:ext cx="5692792" cy="307777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7" name="Picture 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1EB1595-76EB-1802-FF06-9327DD8A9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401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uilding with glass windows&#10;&#10;Description automatically generated">
            <a:extLst>
              <a:ext uri="{FF2B5EF4-FFF2-40B4-BE49-F238E27FC236}">
                <a16:creationId xmlns:a16="http://schemas.microsoft.com/office/drawing/2014/main" id="{BCF3EE81-C567-E1B3-983E-D21ADF275D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E8AB1BB-5751-8D96-E500-620CC2383154}"/>
              </a:ext>
            </a:extLst>
          </p:cNvPr>
          <p:cNvSpPr/>
          <p:nvPr userDrawn="1"/>
        </p:nvSpPr>
        <p:spPr>
          <a:xfrm>
            <a:off x="0" y="0"/>
            <a:ext cx="12192000" cy="6911687"/>
          </a:xfrm>
          <a:prstGeom prst="rect">
            <a:avLst/>
          </a:prstGeom>
          <a:gradFill flip="none" rotWithShape="1">
            <a:gsLst>
              <a:gs pos="75000">
                <a:schemeClr val="bg1"/>
              </a:gs>
              <a:gs pos="0">
                <a:srgbClr val="95BCCC">
                  <a:alpha val="4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7B7D63-257C-0807-D587-92A5FF4530DB}"/>
              </a:ext>
            </a:extLst>
          </p:cNvPr>
          <p:cNvGrpSpPr/>
          <p:nvPr userDrawn="1"/>
        </p:nvGrpSpPr>
        <p:grpSpPr>
          <a:xfrm>
            <a:off x="304800" y="82550"/>
            <a:ext cx="2786743" cy="2698223"/>
            <a:chOff x="0" y="-1"/>
            <a:chExt cx="2786743" cy="26982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F1AF606-5F95-F022-E4EA-9E0A0392502D}"/>
                </a:ext>
              </a:extLst>
            </p:cNvPr>
            <p:cNvSpPr/>
            <p:nvPr userDrawn="1"/>
          </p:nvSpPr>
          <p:spPr>
            <a:xfrm>
              <a:off x="0" y="-1"/>
              <a:ext cx="2366724" cy="2002823"/>
            </a:xfrm>
            <a:prstGeom prst="rect">
              <a:avLst/>
            </a:prstGeom>
            <a:gradFill flip="none" rotWithShape="1">
              <a:gsLst>
                <a:gs pos="43000">
                  <a:schemeClr val="accent1">
                    <a:alpha val="0"/>
                  </a:schemeClr>
                </a:gs>
                <a:gs pos="83000">
                  <a:schemeClr val="accent1">
                    <a:alpha val="58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en-US"/>
                <a:t>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6898930-39C8-778D-C3CF-CCA0FF0CF42C}"/>
                </a:ext>
              </a:extLst>
            </p:cNvPr>
            <p:cNvSpPr/>
            <p:nvPr userDrawn="1"/>
          </p:nvSpPr>
          <p:spPr>
            <a:xfrm>
              <a:off x="263773" y="695399"/>
              <a:ext cx="2243125" cy="2002823"/>
            </a:xfrm>
            <a:prstGeom prst="rect">
              <a:avLst/>
            </a:prstGeom>
            <a:gradFill flip="none" rotWithShape="1">
              <a:gsLst>
                <a:gs pos="46000">
                  <a:schemeClr val="accent4">
                    <a:alpha val="0"/>
                  </a:schemeClr>
                </a:gs>
                <a:gs pos="74000">
                  <a:schemeClr val="accent4"/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84F8B0-5DA5-D7BA-5A54-10C2CA6DC7E2}"/>
                </a:ext>
              </a:extLst>
            </p:cNvPr>
            <p:cNvSpPr/>
            <p:nvPr userDrawn="1"/>
          </p:nvSpPr>
          <p:spPr>
            <a:xfrm>
              <a:off x="1610996" y="324291"/>
              <a:ext cx="1175747" cy="1009921"/>
            </a:xfrm>
            <a:prstGeom prst="rect">
              <a:avLst/>
            </a:prstGeom>
            <a:gradFill flip="none" rotWithShape="1">
              <a:gsLst>
                <a:gs pos="33000">
                  <a:schemeClr val="accent5">
                    <a:alpha val="16000"/>
                  </a:schemeClr>
                </a:gs>
                <a:gs pos="74000">
                  <a:schemeClr val="accent5">
                    <a:alpha val="72000"/>
                  </a:schemeClr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r>
                <a:rPr lang="en-US"/>
                <a:t> </a:t>
              </a:r>
            </a:p>
          </p:txBody>
        </p:sp>
      </p:grpSp>
      <p:sp>
        <p:nvSpPr>
          <p:cNvPr id="4" name="Title 31">
            <a:extLst>
              <a:ext uri="{FF2B5EF4-FFF2-40B4-BE49-F238E27FC236}">
                <a16:creationId xmlns:a16="http://schemas.microsoft.com/office/drawing/2014/main" id="{59C8F063-D4B1-7FD7-73F9-8C3119DEF4A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713664" y="3196473"/>
            <a:ext cx="5692792" cy="1769801"/>
          </a:xfrm>
        </p:spPr>
        <p:txBody>
          <a:bodyPr vert="horz" wrap="square" anchor="b">
            <a:noAutofit/>
          </a:bodyPr>
          <a:lstStyle>
            <a:lvl1pPr algn="r">
              <a:lnSpc>
                <a:spcPct val="9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9C3A5F0-48D1-2D5F-5379-0589C80DCCA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13664" y="5100404"/>
            <a:ext cx="5692792" cy="307777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7" name="Picture 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1EB1595-76EB-1802-FF06-9327DD8A9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61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Picture 88" descr="A black grid with white lines&#10;&#10;Description automatically generated">
            <a:extLst>
              <a:ext uri="{FF2B5EF4-FFF2-40B4-BE49-F238E27FC236}">
                <a16:creationId xmlns:a16="http://schemas.microsoft.com/office/drawing/2014/main" id="{1699667B-69D3-131A-3B21-6DFFBD067D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778" y="-303995"/>
            <a:ext cx="11671313" cy="6857995"/>
          </a:xfrm>
          <a:prstGeom prst="rect">
            <a:avLst/>
          </a:prstGeom>
        </p:spPr>
      </p:pic>
      <p:pic>
        <p:nvPicPr>
          <p:cNvPr id="3" name="Picture 2" descr="A fountain in front of a building&#10;&#10;Description automatically generated">
            <a:extLst>
              <a:ext uri="{FF2B5EF4-FFF2-40B4-BE49-F238E27FC236}">
                <a16:creationId xmlns:a16="http://schemas.microsoft.com/office/drawing/2014/main" id="{82A3CB5B-0427-AF48-357B-0900103DD3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57" y="-33"/>
            <a:ext cx="12192000" cy="685800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79A7D1E-522E-5C7D-D944-6729EAD83BA7}"/>
              </a:ext>
            </a:extLst>
          </p:cNvPr>
          <p:cNvSpPr/>
          <p:nvPr userDrawn="1"/>
        </p:nvSpPr>
        <p:spPr>
          <a:xfrm>
            <a:off x="-1" y="-33"/>
            <a:ext cx="12246515" cy="6879015"/>
          </a:xfrm>
          <a:prstGeom prst="rect">
            <a:avLst/>
          </a:prstGeom>
          <a:gradFill flip="none" rotWithShape="1">
            <a:gsLst>
              <a:gs pos="75000">
                <a:schemeClr val="bg1"/>
              </a:gs>
              <a:gs pos="0">
                <a:srgbClr val="95BCCC">
                  <a:alpha val="4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F1AF606-5F95-F022-E4EA-9E0A0392502D}"/>
              </a:ext>
            </a:extLst>
          </p:cNvPr>
          <p:cNvSpPr/>
          <p:nvPr userDrawn="1"/>
        </p:nvSpPr>
        <p:spPr>
          <a:xfrm>
            <a:off x="739555" y="721474"/>
            <a:ext cx="3760414" cy="365277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3000">
                <a:schemeClr val="accent1">
                  <a:alpha val="5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6898930-39C8-778D-C3CF-CCA0FF0CF42C}"/>
              </a:ext>
            </a:extLst>
          </p:cNvPr>
          <p:cNvSpPr/>
          <p:nvPr userDrawn="1"/>
        </p:nvSpPr>
        <p:spPr>
          <a:xfrm>
            <a:off x="1444594" y="2284212"/>
            <a:ext cx="3564031" cy="3182222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4000">
                <a:schemeClr val="accent4">
                  <a:alpha val="4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r>
              <a:rPr lang="en-US"/>
              <a:t>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C84F8B0-5DA5-D7BA-5A54-10C2CA6DC7E2}"/>
              </a:ext>
            </a:extLst>
          </p:cNvPr>
          <p:cNvSpPr/>
          <p:nvPr userDrawn="1"/>
        </p:nvSpPr>
        <p:spPr>
          <a:xfrm>
            <a:off x="1452612" y="1704438"/>
            <a:ext cx="1868107" cy="1604631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4000">
                <a:schemeClr val="accent2">
                  <a:alpha val="2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r>
              <a:rPr lang="en-US"/>
              <a:t> 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7A3C514-5B2B-F027-CC54-F3DC41C53FD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123257" y="3040650"/>
            <a:ext cx="5283199" cy="1495794"/>
          </a:xfrm>
        </p:spPr>
        <p:txBody>
          <a:bodyPr anchor="b"/>
          <a:lstStyle>
            <a:lvl1pPr algn="r">
              <a:lnSpc>
                <a:spcPct val="90000"/>
              </a:lnSpc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 tit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4F851B59-A603-2CDE-4603-E669C5233F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3257" y="4636882"/>
            <a:ext cx="5283200" cy="307777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pic>
        <p:nvPicPr>
          <p:cNvPr id="10" name="Picture 9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E5940ADB-1157-EE1F-6749-937ACA9D44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582" y="1938742"/>
            <a:ext cx="1741874" cy="34547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D1FF17EE-A9D0-2DD4-331C-2EEF1625D2A6}"/>
              </a:ext>
            </a:extLst>
          </p:cNvPr>
          <p:cNvSpPr/>
          <p:nvPr userDrawn="1"/>
        </p:nvSpPr>
        <p:spPr>
          <a:xfrm>
            <a:off x="592765" y="2852378"/>
            <a:ext cx="4156229" cy="835264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/>
              <a:t> </a:t>
            </a:r>
          </a:p>
        </p:txBody>
      </p:sp>
      <p:pic>
        <p:nvPicPr>
          <p:cNvPr id="2" name="Picture 1" descr="A person wearing a hard hat and glasses&#10;&#10;Description automatically generated">
            <a:extLst>
              <a:ext uri="{FF2B5EF4-FFF2-40B4-BE49-F238E27FC236}">
                <a16:creationId xmlns:a16="http://schemas.microsoft.com/office/drawing/2014/main" id="{BFB579C9-32B5-FF8F-C8E2-C059B60FC5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6"/>
            <a:ext cx="4235697" cy="6857995"/>
          </a:xfrm>
          <a:prstGeom prst="rect">
            <a:avLst/>
          </a:prstGeom>
        </p:spPr>
      </p:pic>
      <p:pic>
        <p:nvPicPr>
          <p:cNvPr id="5" name="Picture 4" descr="A black grid with white lines&#10;&#10;Description automatically generated">
            <a:extLst>
              <a:ext uri="{FF2B5EF4-FFF2-40B4-BE49-F238E27FC236}">
                <a16:creationId xmlns:a16="http://schemas.microsoft.com/office/drawing/2014/main" id="{FBD4E7A0-B48C-3392-BD9F-567D18909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9476" y="258644"/>
            <a:ext cx="11671313" cy="685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04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B49BC9-19B7-8907-AC4F-5140D0B04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0848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06" imgH="306" progId="TCLayout.ActiveDocument.1">
                  <p:embed/>
                </p:oleObj>
              </mc:Choice>
              <mc:Fallback>
                <p:oleObj name="think-cell Slide" r:id="rId24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B49BC9-19B7-8907-AC4F-5140D0B04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69BA9C-C343-76FE-1DFE-0DE98E5A4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060"/>
            <a:ext cx="11353800" cy="3877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488554-CC3A-3EDC-8F8F-16C0347465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7561" y="1343352"/>
            <a:ext cx="11353800" cy="4742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E208A96-2BD4-2898-A6C1-697BA182CDB0}"/>
              </a:ext>
            </a:extLst>
          </p:cNvPr>
          <p:cNvCxnSpPr>
            <a:cxnSpLocks/>
          </p:cNvCxnSpPr>
          <p:nvPr userDrawn="1"/>
        </p:nvCxnSpPr>
        <p:spPr>
          <a:xfrm>
            <a:off x="419100" y="1040222"/>
            <a:ext cx="117729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5458D52-EF87-57A5-97AB-0861E4496671}"/>
              </a:ext>
            </a:extLst>
          </p:cNvPr>
          <p:cNvSpPr/>
          <p:nvPr userDrawn="1"/>
        </p:nvSpPr>
        <p:spPr>
          <a:xfrm>
            <a:off x="419100" y="6518387"/>
            <a:ext cx="192881" cy="107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l"/>
            <a:fld id="{3DB7A996-6C95-4EC8-A797-E13778FADE0A}" type="slidenum">
              <a:rPr lang="en-US" sz="700" smtClean="0">
                <a:solidFill>
                  <a:schemeClr val="tx2"/>
                </a:solidFill>
              </a:rPr>
              <a:pPr algn="l"/>
              <a:t>‹#›</a:t>
            </a:fld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AA6204-FFAE-02A9-1871-D467C5D6CD20}"/>
              </a:ext>
            </a:extLst>
          </p:cNvPr>
          <p:cNvSpPr/>
          <p:nvPr userDrawn="1"/>
        </p:nvSpPr>
        <p:spPr>
          <a:xfrm>
            <a:off x="419100" y="1017362"/>
            <a:ext cx="952500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BF465DF-8632-EC42-6F66-6E9ADB2AEAAF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6480628"/>
            <a:ext cx="923925" cy="183245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89169CA-82DB-7082-AB5D-1AA7FCCE0189}"/>
              </a:ext>
            </a:extLst>
          </p:cNvPr>
          <p:cNvGrpSpPr/>
          <p:nvPr userDrawn="1"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65F47F1-DB22-09D9-66AC-CF936EC1BC07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86F157E-0650-EF77-D4CA-100D6AF4C2BD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0D89D52-28F2-3551-C36B-CC9BAC38FA88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5018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05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1" r:id="rId9"/>
    <p:sldLayoutId id="2147483697" r:id="rId10"/>
    <p:sldLayoutId id="2147483703" r:id="rId11"/>
    <p:sldLayoutId id="2147483710" r:id="rId12"/>
    <p:sldLayoutId id="2147483700" r:id="rId13"/>
    <p:sldLayoutId id="2147483706" r:id="rId14"/>
    <p:sldLayoutId id="2147483728" r:id="rId15"/>
    <p:sldLayoutId id="2147483696" r:id="rId16"/>
    <p:sldLayoutId id="2147483711" r:id="rId17"/>
    <p:sldLayoutId id="2147483713" r:id="rId18"/>
    <p:sldLayoutId id="2147483712" r:id="rId19"/>
    <p:sldLayoutId id="2147483714" r:id="rId20"/>
    <p:sldLayoutId id="2147483731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4" userDrawn="1">
          <p15:clr>
            <a:srgbClr val="5ACBF0"/>
          </p15:clr>
        </p15:guide>
        <p15:guide id="3" orient="horz" pos="216" userDrawn="1">
          <p15:clr>
            <a:srgbClr val="5ACBF0"/>
          </p15:clr>
        </p15:guide>
        <p15:guide id="4" orient="horz" pos="396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orient="horz" pos="3840" userDrawn="1">
          <p15:clr>
            <a:srgbClr val="5ACBF0"/>
          </p15:clr>
        </p15:guide>
        <p15:guide id="9" orient="horz" pos="840" userDrawn="1">
          <p15:clr>
            <a:srgbClr val="F26B43"/>
          </p15:clr>
        </p15:guide>
        <p15:guide id="10" orient="horz" pos="3696" userDrawn="1">
          <p15:clr>
            <a:srgbClr val="5ACBF0"/>
          </p15:clr>
        </p15:guide>
        <p15:guide id="11" pos="7416" userDrawn="1">
          <p15:clr>
            <a:srgbClr val="5ACBF0"/>
          </p15:clr>
        </p15:guide>
        <p15:guide id="12" orient="horz" pos="696" userDrawn="1">
          <p15:clr>
            <a:srgbClr val="F26B43"/>
          </p15:clr>
        </p15:guide>
        <p15:guide id="13" orient="horz" pos="3576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www.caiso.com/todays-outlook/supply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13" Type="http://schemas.openxmlformats.org/officeDocument/2006/relationships/image" Target="../media/image54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7.sv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5" Type="http://schemas.openxmlformats.org/officeDocument/2006/relationships/image" Target="../media/image5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Relationship Id="rId14" Type="http://schemas.openxmlformats.org/officeDocument/2006/relationships/image" Target="../media/image55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5ED6DC-D5C7-FF5B-ECF9-4E7D5CA26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32F2BD1-9314-0523-2F05-2E9C3E3618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28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2F2BD1-9314-0523-2F05-2E9C3E361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30DAC89-1570-0243-8378-291A3A6DF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tteries</a:t>
            </a:r>
          </a:p>
        </p:txBody>
      </p:sp>
    </p:spTree>
    <p:extLst>
      <p:ext uri="{BB962C8B-B14F-4D97-AF65-F5344CB8AC3E}">
        <p14:creationId xmlns:p14="http://schemas.microsoft.com/office/powerpoint/2010/main" val="26005890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084213-F155-E0D8-4A56-9C483EB41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598" t="10045" r="901" b="15056"/>
          <a:stretch/>
        </p:blipFill>
        <p:spPr>
          <a:xfrm>
            <a:off x="4344133" y="1629718"/>
            <a:ext cx="2712792" cy="44953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ED57659-83E3-4781-8F05-B25E1DF7961A}"/>
              </a:ext>
            </a:extLst>
          </p:cNvPr>
          <p:cNvSpPr txBox="1"/>
          <p:nvPr/>
        </p:nvSpPr>
        <p:spPr>
          <a:xfrm>
            <a:off x="3777702" y="6508940"/>
            <a:ext cx="32345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https://www.tesla.com/megapack/desig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964BEF-DF5A-E4DE-CEC5-AD5EB9A6B138}"/>
              </a:ext>
            </a:extLst>
          </p:cNvPr>
          <p:cNvSpPr txBox="1"/>
          <p:nvPr/>
        </p:nvSpPr>
        <p:spPr>
          <a:xfrm>
            <a:off x="7943011" y="1629718"/>
            <a:ext cx="196004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Commercial Systems typically packaged in 4 MWh to 5 MWh units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b="1" dirty="0">
                <a:solidFill>
                  <a:schemeClr val="accent1"/>
                </a:solidFill>
              </a:rPr>
              <a:t>Tesla decreased pricing by 45% in 15 months</a:t>
            </a:r>
          </a:p>
          <a:p>
            <a:endParaRPr lang="en-US" sz="1400" b="1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VRFB’s are no longer able to compete on pri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5E8C1DC-339A-0615-0FD5-D617F67F08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201" t="2561" r="1878" b="18775"/>
          <a:stretch/>
        </p:blipFill>
        <p:spPr>
          <a:xfrm>
            <a:off x="1402533" y="1628664"/>
            <a:ext cx="2459843" cy="493706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DACC675-6136-B29D-1F22-4BD6F1D124F5}"/>
              </a:ext>
            </a:extLst>
          </p:cNvPr>
          <p:cNvSpPr txBox="1"/>
          <p:nvPr/>
        </p:nvSpPr>
        <p:spPr>
          <a:xfrm>
            <a:off x="4784307" y="1124657"/>
            <a:ext cx="1832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August 2024 Price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E52CB7-4123-727D-24AD-0426DB533351}"/>
              </a:ext>
            </a:extLst>
          </p:cNvPr>
          <p:cNvSpPr txBox="1"/>
          <p:nvPr/>
        </p:nvSpPr>
        <p:spPr>
          <a:xfrm>
            <a:off x="1716232" y="1142409"/>
            <a:ext cx="1832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May 2023 Price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0A9BCF0-B576-310E-E506-69B21D57174C}"/>
              </a:ext>
            </a:extLst>
          </p:cNvPr>
          <p:cNvSpPr/>
          <p:nvPr/>
        </p:nvSpPr>
        <p:spPr>
          <a:xfrm>
            <a:off x="6295628" y="5603908"/>
            <a:ext cx="696035" cy="276799"/>
          </a:xfrm>
          <a:prstGeom prst="rect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3DCD98-050D-0236-5F36-2AF97241572B}"/>
              </a:ext>
            </a:extLst>
          </p:cNvPr>
          <p:cNvSpPr/>
          <p:nvPr/>
        </p:nvSpPr>
        <p:spPr>
          <a:xfrm>
            <a:off x="3181059" y="6088922"/>
            <a:ext cx="681317" cy="268435"/>
          </a:xfrm>
          <a:prstGeom prst="rect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DC279EBD-2274-F279-EAEA-C8C3E0B4B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060"/>
            <a:ext cx="11353800" cy="387798"/>
          </a:xfrm>
        </p:spPr>
        <p:txBody>
          <a:bodyPr/>
          <a:lstStyle/>
          <a:p>
            <a:r>
              <a:rPr lang="en-US" dirty="0"/>
              <a:t>COMMERCIAL TECHNOLOGIES: Lithium-ION Pricing</a:t>
            </a:r>
          </a:p>
        </p:txBody>
      </p:sp>
    </p:spTree>
    <p:extLst>
      <p:ext uri="{BB962C8B-B14F-4D97-AF65-F5344CB8AC3E}">
        <p14:creationId xmlns:p14="http://schemas.microsoft.com/office/powerpoint/2010/main" val="10434588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9B3FA-40E9-C595-2E21-01BC4EAE5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s strategies</a:t>
            </a:r>
          </a:p>
        </p:txBody>
      </p:sp>
    </p:spTree>
    <p:extLst>
      <p:ext uri="{BB962C8B-B14F-4D97-AF65-F5344CB8AC3E}">
        <p14:creationId xmlns:p14="http://schemas.microsoft.com/office/powerpoint/2010/main" val="16143063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>
            <a:extLst>
              <a:ext uri="{FF2B5EF4-FFF2-40B4-BE49-F238E27FC236}">
                <a16:creationId xmlns:a16="http://schemas.microsoft.com/office/drawing/2014/main" id="{E039CF8C-72AF-524A-F765-3D0776E0354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-1259264"/>
            <a:ext cx="4840664" cy="4840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2544B0-1709-0DCA-01AE-886D7E2D0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419" y="1124657"/>
            <a:ext cx="7035880" cy="39032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B711A3-DA21-3DE7-9CC0-80567C94AD38}"/>
              </a:ext>
            </a:extLst>
          </p:cNvPr>
          <p:cNvSpPr txBox="1"/>
          <p:nvPr/>
        </p:nvSpPr>
        <p:spPr>
          <a:xfrm>
            <a:off x="843532" y="1570353"/>
            <a:ext cx="19783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Strategy for customers on a Time-of-Use (TOU)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Battery is discharged during On-Peak times and Off-Peak tim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644CA1-884A-4A5A-DAF0-F446E7A6B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060"/>
            <a:ext cx="11353800" cy="775597"/>
          </a:xfrm>
        </p:spPr>
        <p:txBody>
          <a:bodyPr/>
          <a:lstStyle/>
          <a:p>
            <a:r>
              <a:rPr lang="en-US" dirty="0"/>
              <a:t>Operations Strategies: Energy Arbitrag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855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A003CF9-A66B-5A2C-D059-A5CF898E5304}"/>
              </a:ext>
            </a:extLst>
          </p:cNvPr>
          <p:cNvSpPr txBox="1"/>
          <p:nvPr/>
        </p:nvSpPr>
        <p:spPr>
          <a:xfrm>
            <a:off x="419100" y="1213195"/>
            <a:ext cx="9560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Battery enrolled in a utility program and discharged in time of peak grid need, not customer need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C89EAC-07A9-002F-F001-551A2A6E61B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243"/>
          <a:stretch/>
        </p:blipFill>
        <p:spPr>
          <a:xfrm>
            <a:off x="76285" y="1973932"/>
            <a:ext cx="5646089" cy="4386106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6F4C744-E570-B421-5D7D-155666833CA5}"/>
              </a:ext>
            </a:extLst>
          </p:cNvPr>
          <p:cNvSpPr txBox="1"/>
          <p:nvPr/>
        </p:nvSpPr>
        <p:spPr>
          <a:xfrm>
            <a:off x="-1023981" y="6373157"/>
            <a:ext cx="60944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solidFill>
                  <a:schemeClr val="accent1"/>
                </a:solidFill>
              </a:rPr>
              <a:t>https://www.gridstatus.io/live/ercot?date=2024-05-08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17A6DF3-2143-AA95-07E8-A8F069F2F3B6}"/>
              </a:ext>
            </a:extLst>
          </p:cNvPr>
          <p:cNvSpPr/>
          <p:nvPr/>
        </p:nvSpPr>
        <p:spPr>
          <a:xfrm>
            <a:off x="4302050" y="2778551"/>
            <a:ext cx="989814" cy="650449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C0B001-3C78-CF54-A073-4F308596A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84843"/>
            <a:ext cx="11353800" cy="775597"/>
          </a:xfrm>
        </p:spPr>
        <p:txBody>
          <a:bodyPr/>
          <a:lstStyle/>
          <a:p>
            <a:r>
              <a:rPr lang="en-US" dirty="0"/>
              <a:t>Operations Strategies: Demand Response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3E9921-7163-0332-6441-447A212699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34" r="3367"/>
          <a:stretch/>
        </p:blipFill>
        <p:spPr>
          <a:xfrm>
            <a:off x="5722374" y="2113758"/>
            <a:ext cx="6393341" cy="41064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6200942-493A-6C6E-4133-6ACE5F9BB55A}"/>
              </a:ext>
            </a:extLst>
          </p:cNvPr>
          <p:cNvSpPr txBox="1"/>
          <p:nvPr/>
        </p:nvSpPr>
        <p:spPr>
          <a:xfrm>
            <a:off x="6425381" y="6396607"/>
            <a:ext cx="66171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4"/>
              </a:rPr>
              <a:t>Today's Outlook | Supply | California ISO (caiso.com)</a:t>
            </a:r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2BB350-25E1-9A54-0C78-213099AA091D}"/>
              </a:ext>
            </a:extLst>
          </p:cNvPr>
          <p:cNvSpPr txBox="1"/>
          <p:nvPr/>
        </p:nvSpPr>
        <p:spPr>
          <a:xfrm>
            <a:off x="76285" y="1636060"/>
            <a:ext cx="1640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ERCO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675305-74A3-044D-9F9C-E57BB3BDDA6C}"/>
              </a:ext>
            </a:extLst>
          </p:cNvPr>
          <p:cNvSpPr txBox="1"/>
          <p:nvPr/>
        </p:nvSpPr>
        <p:spPr>
          <a:xfrm>
            <a:off x="5852736" y="1598809"/>
            <a:ext cx="1640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CAISO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09D52A8-BF2F-5CF0-2A8D-CD63662D8E28}"/>
              </a:ext>
            </a:extLst>
          </p:cNvPr>
          <p:cNvSpPr/>
          <p:nvPr/>
        </p:nvSpPr>
        <p:spPr>
          <a:xfrm>
            <a:off x="10235818" y="4887571"/>
            <a:ext cx="1879897" cy="650449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9253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C0B001-3C78-CF54-A073-4F308596A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84843"/>
            <a:ext cx="11353800" cy="387798"/>
          </a:xfrm>
        </p:spPr>
        <p:txBody>
          <a:bodyPr/>
          <a:lstStyle/>
          <a:p>
            <a:r>
              <a:rPr lang="en-US" dirty="0"/>
              <a:t>Operations Strategies: Combin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B8C84A-1A33-1F47-A3EC-409681DE8B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7077"/>
            <a:ext cx="12192000" cy="517608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2A8A425-4B1F-F64C-9BBC-E5C030F8B807}"/>
              </a:ext>
            </a:extLst>
          </p:cNvPr>
          <p:cNvSpPr/>
          <p:nvPr/>
        </p:nvSpPr>
        <p:spPr>
          <a:xfrm>
            <a:off x="3388659" y="6451372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https://</a:t>
            </a:r>
            <a:r>
              <a:rPr lang="en-US" sz="1000" dirty="0" err="1"/>
              <a:t>www.enelnorthamerica.com</a:t>
            </a:r>
            <a:r>
              <a:rPr lang="en-US" sz="1000" dirty="0"/>
              <a:t>/insights/blogs/battery-storage-101-everything-you-need-to-know</a:t>
            </a:r>
          </a:p>
        </p:txBody>
      </p:sp>
    </p:spTree>
    <p:extLst>
      <p:ext uri="{BB962C8B-B14F-4D97-AF65-F5344CB8AC3E}">
        <p14:creationId xmlns:p14="http://schemas.microsoft.com/office/powerpoint/2010/main" val="984080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B3EE3-4E01-5C09-D488-89E3AE6BF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analysis</a:t>
            </a:r>
          </a:p>
        </p:txBody>
      </p:sp>
    </p:spTree>
    <p:extLst>
      <p:ext uri="{BB962C8B-B14F-4D97-AF65-F5344CB8AC3E}">
        <p14:creationId xmlns:p14="http://schemas.microsoft.com/office/powerpoint/2010/main" val="3439727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7CCF3A68-4BEB-8C85-79E0-15196B03AF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744" y="1335586"/>
            <a:ext cx="6950154" cy="479314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A8889E7-EBC1-1F45-E81E-A323BC644FA5}"/>
              </a:ext>
            </a:extLst>
          </p:cNvPr>
          <p:cNvSpPr txBox="1"/>
          <p:nvPr/>
        </p:nvSpPr>
        <p:spPr>
          <a:xfrm>
            <a:off x="538018" y="1335586"/>
            <a:ext cx="2787887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Analysis Assumptions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Four-hour storage battery</a:t>
            </a:r>
          </a:p>
          <a:p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Appropriate for medium-sized hospital</a:t>
            </a:r>
          </a:p>
          <a:p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$4.95M total installed 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87674324-48F2-CAE2-B25D-38BD594E8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250"/>
            <a:ext cx="11353800" cy="387350"/>
          </a:xfrm>
        </p:spPr>
        <p:txBody>
          <a:bodyPr/>
          <a:lstStyle/>
          <a:p>
            <a:r>
              <a:rPr lang="en-US" dirty="0"/>
              <a:t>ECONOMIC ANALYSIS: System price</a:t>
            </a:r>
          </a:p>
        </p:txBody>
      </p:sp>
    </p:spTree>
    <p:extLst>
      <p:ext uri="{BB962C8B-B14F-4D97-AF65-F5344CB8AC3E}">
        <p14:creationId xmlns:p14="http://schemas.microsoft.com/office/powerpoint/2010/main" val="2537539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37EEE76-E02B-9BEA-6F56-BB41B603710A}"/>
              </a:ext>
            </a:extLst>
          </p:cNvPr>
          <p:cNvSpPr txBox="1"/>
          <p:nvPr/>
        </p:nvSpPr>
        <p:spPr>
          <a:xfrm>
            <a:off x="903448" y="1389330"/>
            <a:ext cx="4176074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Rocky Mountain Power General Service</a:t>
            </a:r>
          </a:p>
          <a:p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Summer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n-Peak - $14.33/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ff-Peak – No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Winter Dem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n-Peak - $12.68/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ff-Peak – No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Summer Ener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n-Peak - $0.0515/kW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ff-Peak - $0.023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Winter Ener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n-Peak - $0.045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ff-Peak - $0.023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E4C553-B94F-50F2-7AA5-C94A6C239DFE}"/>
              </a:ext>
            </a:extLst>
          </p:cNvPr>
          <p:cNvSpPr txBox="1"/>
          <p:nvPr/>
        </p:nvSpPr>
        <p:spPr>
          <a:xfrm>
            <a:off x="5755065" y="1918248"/>
            <a:ext cx="39268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Demand Savings: $168,683</a:t>
            </a:r>
          </a:p>
          <a:p>
            <a:r>
              <a:rPr lang="en-US" sz="1600" dirty="0">
                <a:solidFill>
                  <a:schemeClr val="accent1"/>
                </a:solidFill>
              </a:rPr>
              <a:t>Energy Savings: $37,480</a:t>
            </a:r>
          </a:p>
          <a:p>
            <a:r>
              <a:rPr lang="en-US" sz="1600" b="1" dirty="0">
                <a:solidFill>
                  <a:schemeClr val="accent1"/>
                </a:solidFill>
              </a:rPr>
              <a:t>Total Savings: $206,163</a:t>
            </a:r>
          </a:p>
          <a:p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Annual Cycles: 260</a:t>
            </a:r>
          </a:p>
          <a:p>
            <a:endParaRPr lang="en-US" sz="1600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AED53E27-A9B4-4DB8-C75C-C3CCAA02E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250"/>
            <a:ext cx="11353800" cy="387350"/>
          </a:xfrm>
        </p:spPr>
        <p:txBody>
          <a:bodyPr/>
          <a:lstStyle/>
          <a:p>
            <a:r>
              <a:rPr lang="en-US" dirty="0"/>
              <a:t>ECONOMIC ANALYSIS: energy arbitrage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96E0618-A791-8066-6079-15CA819C1F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3883196"/>
              </p:ext>
            </p:extLst>
          </p:nvPr>
        </p:nvGraphicFramePr>
        <p:xfrm>
          <a:off x="4918635" y="3532532"/>
          <a:ext cx="6098988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8494">
                  <a:extLst>
                    <a:ext uri="{9D8B030D-6E8A-4147-A177-3AD203B41FA5}">
                      <a16:colId xmlns:a16="http://schemas.microsoft.com/office/drawing/2014/main" val="2665304457"/>
                    </a:ext>
                  </a:extLst>
                </a:gridCol>
                <a:gridCol w="2160494">
                  <a:extLst>
                    <a:ext uri="{9D8B030D-6E8A-4147-A177-3AD203B41FA5}">
                      <a16:colId xmlns:a16="http://schemas.microsoft.com/office/drawing/2014/main" val="22162691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/>
                      <a:r>
                        <a:rPr lang="en-US" dirty="0"/>
                        <a:t>I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893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Installation Cost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4,95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6567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Investment Tax Credit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1,48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704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Annual Savings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206,1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2805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O&amp;M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23,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7844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Simple Pay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240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Average savings per kW ($/k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114.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1476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08099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47A729-E10C-FF17-6558-50EA23F3AB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73" r="5213"/>
          <a:stretch/>
        </p:blipFill>
        <p:spPr>
          <a:xfrm>
            <a:off x="3221708" y="1380009"/>
            <a:ext cx="7899663" cy="46012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A003CF9-A66B-5A2C-D059-A5CF898E5304}"/>
              </a:ext>
            </a:extLst>
          </p:cNvPr>
          <p:cNvSpPr txBox="1"/>
          <p:nvPr/>
        </p:nvSpPr>
        <p:spPr>
          <a:xfrm>
            <a:off x="932257" y="1380009"/>
            <a:ext cx="213935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Strategy for all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Battery enrolled in a utility program and discharged in time of peak grid need, not customer ne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6B4AD2-5C15-8410-B57E-C6392C878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analysis: Demand Response</a:t>
            </a:r>
          </a:p>
        </p:txBody>
      </p:sp>
    </p:spTree>
    <p:extLst>
      <p:ext uri="{BB962C8B-B14F-4D97-AF65-F5344CB8AC3E}">
        <p14:creationId xmlns:p14="http://schemas.microsoft.com/office/powerpoint/2010/main" val="6361061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6E711CD-F491-F8BB-276B-5AA8F0D80DD3}"/>
              </a:ext>
            </a:extLst>
          </p:cNvPr>
          <p:cNvSpPr txBox="1"/>
          <p:nvPr/>
        </p:nvSpPr>
        <p:spPr>
          <a:xfrm>
            <a:off x="929205" y="1275953"/>
            <a:ext cx="422234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Rocky Mountain Power </a:t>
            </a:r>
            <a:br>
              <a:rPr lang="en-US" sz="1600" b="1" dirty="0">
                <a:solidFill>
                  <a:schemeClr val="accent1"/>
                </a:solidFill>
              </a:rPr>
            </a:br>
            <a:r>
              <a:rPr lang="en-US" sz="1600" b="1" dirty="0" err="1">
                <a:solidFill>
                  <a:schemeClr val="accent1"/>
                </a:solidFill>
              </a:rPr>
              <a:t>Wattsmart</a:t>
            </a:r>
            <a:r>
              <a:rPr lang="en-US" sz="1600" b="1" dirty="0">
                <a:solidFill>
                  <a:schemeClr val="accent1"/>
                </a:solidFill>
              </a:rPr>
              <a:t> Battery Program</a:t>
            </a:r>
          </a:p>
          <a:p>
            <a:endParaRPr lang="en-US" sz="16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$150/kW x 1800 x 4 years = $1,080,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$15/kW x 1800 = $27,000 in years 1-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$50/kW x 1800 = $90,000 afterw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360 cycles per year</a:t>
            </a:r>
          </a:p>
          <a:p>
            <a:r>
              <a:rPr lang="en-US" sz="1600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CE0AF9-B891-18E5-1A09-EA94C9A191DC}"/>
              </a:ext>
            </a:extLst>
          </p:cNvPr>
          <p:cNvSpPr txBox="1"/>
          <p:nvPr/>
        </p:nvSpPr>
        <p:spPr>
          <a:xfrm>
            <a:off x="5669670" y="1275953"/>
            <a:ext cx="519259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Rocky Mountain Power </a:t>
            </a:r>
            <a:br>
              <a:rPr lang="en-US" sz="1600" b="1" dirty="0">
                <a:solidFill>
                  <a:schemeClr val="accent1"/>
                </a:solidFill>
              </a:rPr>
            </a:br>
            <a:r>
              <a:rPr lang="en-US" sz="1600" b="1" dirty="0" err="1">
                <a:solidFill>
                  <a:schemeClr val="accent1"/>
                </a:solidFill>
              </a:rPr>
              <a:t>Wattsmart</a:t>
            </a:r>
            <a:r>
              <a:rPr lang="en-US" sz="1600" b="1" dirty="0">
                <a:solidFill>
                  <a:schemeClr val="accent1"/>
                </a:solidFill>
              </a:rPr>
              <a:t> Demand Response Program</a:t>
            </a:r>
          </a:p>
          <a:p>
            <a:endParaRPr lang="en-US" sz="1600" b="1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$190/kW x 1800 = $342,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Likely able to reduce demand charges in shoulder months when DR events are unlikely to be called.</a:t>
            </a:r>
          </a:p>
          <a:p>
            <a:endParaRPr lang="en-US" sz="1600" dirty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F3B16987-9C87-0ADE-1EDA-F9E271E34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250"/>
            <a:ext cx="11353800" cy="387350"/>
          </a:xfrm>
        </p:spPr>
        <p:txBody>
          <a:bodyPr/>
          <a:lstStyle/>
          <a:p>
            <a:r>
              <a:rPr lang="en-US" dirty="0"/>
              <a:t>Economic analysis: Demand Response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96E0618-A791-8066-6079-15CA819C1F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8117087"/>
              </p:ext>
            </p:extLst>
          </p:nvPr>
        </p:nvGraphicFramePr>
        <p:xfrm>
          <a:off x="929205" y="3429000"/>
          <a:ext cx="9676092" cy="323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0336">
                  <a:extLst>
                    <a:ext uri="{9D8B030D-6E8A-4147-A177-3AD203B41FA5}">
                      <a16:colId xmlns:a16="http://schemas.microsoft.com/office/drawing/2014/main" val="2665304457"/>
                    </a:ext>
                  </a:extLst>
                </a:gridCol>
                <a:gridCol w="2903455">
                  <a:extLst>
                    <a:ext uri="{9D8B030D-6E8A-4147-A177-3AD203B41FA5}">
                      <a16:colId xmlns:a16="http://schemas.microsoft.com/office/drawing/2014/main" val="2216269159"/>
                    </a:ext>
                  </a:extLst>
                </a:gridCol>
                <a:gridCol w="2712301">
                  <a:extLst>
                    <a:ext uri="{9D8B030D-6E8A-4147-A177-3AD203B41FA5}">
                      <a16:colId xmlns:a16="http://schemas.microsoft.com/office/drawing/2014/main" val="7657401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/>
                      <a:r>
                        <a:rPr lang="en-US" dirty="0"/>
                        <a:t>I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Wattsmart</a:t>
                      </a:r>
                      <a:r>
                        <a:rPr lang="en-US" dirty="0"/>
                        <a:t> Batt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err="1"/>
                        <a:t>Wattsmart</a:t>
                      </a:r>
                      <a:r>
                        <a:rPr lang="en-US" b="1" dirty="0"/>
                        <a:t> Demand Respon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893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Installation Cost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4,9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$4,95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6567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Investment Tax Credit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1,48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$1,48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704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Upfront Incentive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1,08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2805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Annual Incentive (years 1-4)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27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$342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7844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Annual Incentive (years 5+)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9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$342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240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O&amp;M ($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23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$23,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147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 algn="l"/>
                      <a:r>
                        <a:rPr lang="en-US" dirty="0"/>
                        <a:t>Simple Pay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11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13811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978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9D850CB-B73E-118F-C3EA-48D831F05C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uilding with a glass front&#10;&#10;Description automatically generated">
            <a:extLst>
              <a:ext uri="{FF2B5EF4-FFF2-40B4-BE49-F238E27FC236}">
                <a16:creationId xmlns:a16="http://schemas.microsoft.com/office/drawing/2014/main" id="{88500944-DCBC-72A1-9F5E-FA111FDCBBA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5215810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5EAF344-1FC3-37E1-C5CC-2431D94E90CA}"/>
              </a:ext>
            </a:extLst>
          </p:cNvPr>
          <p:cNvSpPr/>
          <p:nvPr/>
        </p:nvSpPr>
        <p:spPr>
          <a:xfrm flipH="1">
            <a:off x="-2" y="0"/>
            <a:ext cx="5215813" cy="6858000"/>
          </a:xfrm>
          <a:prstGeom prst="rect">
            <a:avLst/>
          </a:prstGeom>
          <a:solidFill>
            <a:schemeClr val="accent1">
              <a:lumMod val="7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EDAA7-CEA5-4E3A-525A-173F2FFA7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794481"/>
            <a:ext cx="3505199" cy="609398"/>
          </a:xfrm>
        </p:spPr>
        <p:txBody>
          <a:bodyPr vert="horz">
            <a:noAutofit/>
          </a:bodyPr>
          <a:lstStyle/>
          <a:p>
            <a:r>
              <a:rPr lang="en-US" sz="44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3" name="Picture 2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EF46AB8F-9E89-E792-BAA5-10D98F88FE0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6480628"/>
            <a:ext cx="923925" cy="183245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E5386EC-43E9-05FE-2307-8B4ADB8D8A35}"/>
              </a:ext>
            </a:extLst>
          </p:cNvPr>
          <p:cNvSpPr>
            <a:spLocks noChangeAspect="1"/>
          </p:cNvSpPr>
          <p:nvPr/>
        </p:nvSpPr>
        <p:spPr>
          <a:xfrm>
            <a:off x="4835742" y="1156564"/>
            <a:ext cx="762624" cy="762624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2400" b="1"/>
              <a:t>0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0BD27C6-C32C-437D-8CD3-91BA13129538}"/>
              </a:ext>
            </a:extLst>
          </p:cNvPr>
          <p:cNvSpPr>
            <a:spLocks noChangeAspect="1"/>
          </p:cNvSpPr>
          <p:nvPr/>
        </p:nvSpPr>
        <p:spPr>
          <a:xfrm>
            <a:off x="4835742" y="2314626"/>
            <a:ext cx="762624" cy="762624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2400" b="1"/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BB21511-36DD-C5DB-D7B2-50108812C091}"/>
              </a:ext>
            </a:extLst>
          </p:cNvPr>
          <p:cNvSpPr>
            <a:spLocks noChangeAspect="1"/>
          </p:cNvSpPr>
          <p:nvPr/>
        </p:nvSpPr>
        <p:spPr>
          <a:xfrm>
            <a:off x="4835742" y="3472688"/>
            <a:ext cx="762624" cy="762624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2400" b="1"/>
              <a:t>0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0D0378E-4DED-F935-D2CE-016445F0437B}"/>
              </a:ext>
            </a:extLst>
          </p:cNvPr>
          <p:cNvSpPr>
            <a:spLocks noChangeAspect="1"/>
          </p:cNvSpPr>
          <p:nvPr/>
        </p:nvSpPr>
        <p:spPr>
          <a:xfrm>
            <a:off x="4835742" y="4630750"/>
            <a:ext cx="762624" cy="762624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2400" b="1"/>
              <a:t>04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07268B-B626-8122-DC87-EC20592A455A}"/>
              </a:ext>
            </a:extLst>
          </p:cNvPr>
          <p:cNvSpPr txBox="1">
            <a:spLocks/>
          </p:cNvSpPr>
          <p:nvPr/>
        </p:nvSpPr>
        <p:spPr>
          <a:xfrm>
            <a:off x="6111550" y="1222408"/>
            <a:ext cx="5661350" cy="63093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+mj-lt"/>
              </a:rPr>
              <a:t>WHY NOW?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5947FCDA-B0E7-32B6-A882-F797BB563CB0}"/>
              </a:ext>
            </a:extLst>
          </p:cNvPr>
          <p:cNvSpPr txBox="1">
            <a:spLocks/>
          </p:cNvSpPr>
          <p:nvPr/>
        </p:nvSpPr>
        <p:spPr>
          <a:xfrm>
            <a:off x="6111550" y="2380470"/>
            <a:ext cx="5661350" cy="63093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+mj-lt"/>
              </a:rPr>
              <a:t>COMMERCIAL TECHNOLOGIES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4997816F-D1FF-DF8B-3B0B-0D6D79BE6C55}"/>
              </a:ext>
            </a:extLst>
          </p:cNvPr>
          <p:cNvSpPr txBox="1">
            <a:spLocks/>
          </p:cNvSpPr>
          <p:nvPr/>
        </p:nvSpPr>
        <p:spPr>
          <a:xfrm>
            <a:off x="6111550" y="3538532"/>
            <a:ext cx="5661350" cy="63093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b="1" dirty="0">
                <a:solidFill>
                  <a:schemeClr val="tx2"/>
                </a:solidFill>
                <a:latin typeface="+mj-lt"/>
              </a:rPr>
              <a:t>OPERATIONS STRATEGIES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72C457F8-0ABF-A942-ABCF-5E66A4EB3826}"/>
              </a:ext>
            </a:extLst>
          </p:cNvPr>
          <p:cNvSpPr txBox="1">
            <a:spLocks/>
          </p:cNvSpPr>
          <p:nvPr/>
        </p:nvSpPr>
        <p:spPr>
          <a:xfrm>
            <a:off x="6047155" y="4626923"/>
            <a:ext cx="5661350" cy="63093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+mj-lt"/>
              </a:rPr>
              <a:t>ECONOMIC ANALYSI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0E2617A-771B-4F12-3E4F-37E3B0DB05FF}"/>
              </a:ext>
            </a:extLst>
          </p:cNvPr>
          <p:cNvGrpSpPr/>
          <p:nvPr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8D747B-E8FD-87D2-241F-87DD13E7907E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8A8E678-C26B-F5C8-2156-C473EC9643F6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A03DF5-6A8D-4F0B-CD91-0E1D7FC7181A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E92D1C2-98A5-7C3E-8BC5-2E57119E932D}"/>
              </a:ext>
            </a:extLst>
          </p:cNvPr>
          <p:cNvCxnSpPr>
            <a:cxnSpLocks/>
          </p:cNvCxnSpPr>
          <p:nvPr/>
        </p:nvCxnSpPr>
        <p:spPr>
          <a:xfrm>
            <a:off x="6111550" y="2116907"/>
            <a:ext cx="566013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C1734CF-650C-DCFB-D62C-5092669DCAC9}"/>
              </a:ext>
            </a:extLst>
          </p:cNvPr>
          <p:cNvCxnSpPr>
            <a:cxnSpLocks/>
          </p:cNvCxnSpPr>
          <p:nvPr/>
        </p:nvCxnSpPr>
        <p:spPr>
          <a:xfrm>
            <a:off x="6111550" y="3274969"/>
            <a:ext cx="566013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8F4683F-DC35-E5E6-029A-69A6F3C201D1}"/>
              </a:ext>
            </a:extLst>
          </p:cNvPr>
          <p:cNvCxnSpPr>
            <a:cxnSpLocks/>
          </p:cNvCxnSpPr>
          <p:nvPr/>
        </p:nvCxnSpPr>
        <p:spPr>
          <a:xfrm>
            <a:off x="6111550" y="4433031"/>
            <a:ext cx="566013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Graphic 59">
            <a:extLst>
              <a:ext uri="{FF2B5EF4-FFF2-40B4-BE49-F238E27FC236}">
                <a16:creationId xmlns:a16="http://schemas.microsoft.com/office/drawing/2014/main" id="{089B1536-CC67-8FB4-2734-3F1B4143D5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0460" y="2454120"/>
            <a:ext cx="1065667" cy="106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9548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77E252D-A29C-4BA3-884F-DA805E48C48C}"/>
              </a:ext>
            </a:extLst>
          </p:cNvPr>
          <p:cNvGrpSpPr/>
          <p:nvPr/>
        </p:nvGrpSpPr>
        <p:grpSpPr>
          <a:xfrm>
            <a:off x="0" y="6815750"/>
            <a:ext cx="12192000" cy="45719"/>
            <a:chOff x="0" y="1672803"/>
            <a:chExt cx="8403935" cy="14208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61428DC-9A8A-2820-F013-620A588A90BA}"/>
                </a:ext>
              </a:extLst>
            </p:cNvPr>
            <p:cNvSpPr/>
            <p:nvPr userDrawn="1"/>
          </p:nvSpPr>
          <p:spPr>
            <a:xfrm>
              <a:off x="0" y="1672803"/>
              <a:ext cx="2802019" cy="1420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19318A-A84E-A6AB-B164-50DD08D062D6}"/>
                </a:ext>
              </a:extLst>
            </p:cNvPr>
            <p:cNvSpPr/>
            <p:nvPr userDrawn="1"/>
          </p:nvSpPr>
          <p:spPr>
            <a:xfrm>
              <a:off x="2799897" y="1672803"/>
              <a:ext cx="2802019" cy="1420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FE62EEE-5130-83F1-9624-75BE1DA82BC3}"/>
                </a:ext>
              </a:extLst>
            </p:cNvPr>
            <p:cNvSpPr/>
            <p:nvPr userDrawn="1"/>
          </p:nvSpPr>
          <p:spPr>
            <a:xfrm>
              <a:off x="5601916" y="1672803"/>
              <a:ext cx="2802019" cy="1420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F0C1D34-BED4-43E7-52B3-7F4B152CF904}"/>
              </a:ext>
            </a:extLst>
          </p:cNvPr>
          <p:cNvGrpSpPr/>
          <p:nvPr/>
        </p:nvGrpSpPr>
        <p:grpSpPr>
          <a:xfrm>
            <a:off x="307275" y="1286683"/>
            <a:ext cx="7819699" cy="4895208"/>
            <a:chOff x="12215447" y="4320792"/>
            <a:chExt cx="10192670" cy="6656104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1DAB598E-2E38-85C8-D4A7-C393A265D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88178" y="4320792"/>
              <a:ext cx="1271530" cy="940359"/>
            </a:xfrm>
            <a:custGeom>
              <a:avLst/>
              <a:gdLst>
                <a:gd name="T0" fmla="*/ 1583 w 1781"/>
                <a:gd name="T1" fmla="*/ 1160 h 1315"/>
                <a:gd name="T2" fmla="*/ 1570 w 1781"/>
                <a:gd name="T3" fmla="*/ 1315 h 1315"/>
                <a:gd name="T4" fmla="*/ 1042 w 1781"/>
                <a:gd name="T5" fmla="*/ 1191 h 1315"/>
                <a:gd name="T6" fmla="*/ 977 w 1781"/>
                <a:gd name="T7" fmla="*/ 1191 h 1315"/>
                <a:gd name="T8" fmla="*/ 750 w 1781"/>
                <a:gd name="T9" fmla="*/ 1205 h 1315"/>
                <a:gd name="T10" fmla="*/ 705 w 1781"/>
                <a:gd name="T11" fmla="*/ 1197 h 1315"/>
                <a:gd name="T12" fmla="*/ 670 w 1781"/>
                <a:gd name="T13" fmla="*/ 1203 h 1315"/>
                <a:gd name="T14" fmla="*/ 651 w 1781"/>
                <a:gd name="T15" fmla="*/ 1189 h 1315"/>
                <a:gd name="T16" fmla="*/ 599 w 1781"/>
                <a:gd name="T17" fmla="*/ 1183 h 1315"/>
                <a:gd name="T18" fmla="*/ 587 w 1781"/>
                <a:gd name="T19" fmla="*/ 1160 h 1315"/>
                <a:gd name="T20" fmla="*/ 508 w 1781"/>
                <a:gd name="T21" fmla="*/ 1143 h 1315"/>
                <a:gd name="T22" fmla="*/ 457 w 1781"/>
                <a:gd name="T23" fmla="*/ 1125 h 1315"/>
                <a:gd name="T24" fmla="*/ 356 w 1781"/>
                <a:gd name="T25" fmla="*/ 1139 h 1315"/>
                <a:gd name="T26" fmla="*/ 232 w 1781"/>
                <a:gd name="T27" fmla="*/ 1079 h 1315"/>
                <a:gd name="T28" fmla="*/ 201 w 1781"/>
                <a:gd name="T29" fmla="*/ 889 h 1315"/>
                <a:gd name="T30" fmla="*/ 141 w 1781"/>
                <a:gd name="T31" fmla="*/ 871 h 1315"/>
                <a:gd name="T32" fmla="*/ 72 w 1781"/>
                <a:gd name="T33" fmla="*/ 834 h 1315"/>
                <a:gd name="T34" fmla="*/ 0 w 1781"/>
                <a:gd name="T35" fmla="*/ 800 h 1315"/>
                <a:gd name="T36" fmla="*/ 22 w 1781"/>
                <a:gd name="T37" fmla="*/ 710 h 1315"/>
                <a:gd name="T38" fmla="*/ 35 w 1781"/>
                <a:gd name="T39" fmla="*/ 726 h 1315"/>
                <a:gd name="T40" fmla="*/ 51 w 1781"/>
                <a:gd name="T41" fmla="*/ 724 h 1315"/>
                <a:gd name="T42" fmla="*/ 75 w 1781"/>
                <a:gd name="T43" fmla="*/ 686 h 1315"/>
                <a:gd name="T44" fmla="*/ 62 w 1781"/>
                <a:gd name="T45" fmla="*/ 666 h 1315"/>
                <a:gd name="T46" fmla="*/ 45 w 1781"/>
                <a:gd name="T47" fmla="*/ 612 h 1315"/>
                <a:gd name="T48" fmla="*/ 113 w 1781"/>
                <a:gd name="T49" fmla="*/ 585 h 1315"/>
                <a:gd name="T50" fmla="*/ 55 w 1781"/>
                <a:gd name="T51" fmla="*/ 539 h 1315"/>
                <a:gd name="T52" fmla="*/ 40 w 1781"/>
                <a:gd name="T53" fmla="*/ 417 h 1315"/>
                <a:gd name="T54" fmla="*/ 53 w 1781"/>
                <a:gd name="T55" fmla="*/ 285 h 1315"/>
                <a:gd name="T56" fmla="*/ 21 w 1781"/>
                <a:gd name="T57" fmla="*/ 161 h 1315"/>
                <a:gd name="T58" fmla="*/ 69 w 1781"/>
                <a:gd name="T59" fmla="*/ 70 h 1315"/>
                <a:gd name="T60" fmla="*/ 226 w 1781"/>
                <a:gd name="T61" fmla="*/ 208 h 1315"/>
                <a:gd name="T62" fmla="*/ 338 w 1781"/>
                <a:gd name="T63" fmla="*/ 246 h 1315"/>
                <a:gd name="T64" fmla="*/ 381 w 1781"/>
                <a:gd name="T65" fmla="*/ 250 h 1315"/>
                <a:gd name="T66" fmla="*/ 451 w 1781"/>
                <a:gd name="T67" fmla="*/ 288 h 1315"/>
                <a:gd name="T68" fmla="*/ 437 w 1781"/>
                <a:gd name="T69" fmla="*/ 384 h 1315"/>
                <a:gd name="T70" fmla="*/ 331 w 1781"/>
                <a:gd name="T71" fmla="*/ 478 h 1315"/>
                <a:gd name="T72" fmla="*/ 334 w 1781"/>
                <a:gd name="T73" fmla="*/ 511 h 1315"/>
                <a:gd name="T74" fmla="*/ 384 w 1781"/>
                <a:gd name="T75" fmla="*/ 454 h 1315"/>
                <a:gd name="T76" fmla="*/ 482 w 1781"/>
                <a:gd name="T77" fmla="*/ 396 h 1315"/>
                <a:gd name="T78" fmla="*/ 457 w 1781"/>
                <a:gd name="T79" fmla="*/ 439 h 1315"/>
                <a:gd name="T80" fmla="*/ 361 w 1781"/>
                <a:gd name="T81" fmla="*/ 557 h 1315"/>
                <a:gd name="T82" fmla="*/ 315 w 1781"/>
                <a:gd name="T83" fmla="*/ 628 h 1315"/>
                <a:gd name="T84" fmla="*/ 382 w 1781"/>
                <a:gd name="T85" fmla="*/ 602 h 1315"/>
                <a:gd name="T86" fmla="*/ 450 w 1781"/>
                <a:gd name="T87" fmla="*/ 570 h 1315"/>
                <a:gd name="T88" fmla="*/ 492 w 1781"/>
                <a:gd name="T89" fmla="*/ 471 h 1315"/>
                <a:gd name="T90" fmla="*/ 553 w 1781"/>
                <a:gd name="T91" fmla="*/ 376 h 1315"/>
                <a:gd name="T92" fmla="*/ 541 w 1781"/>
                <a:gd name="T93" fmla="*/ 292 h 1315"/>
                <a:gd name="T94" fmla="*/ 521 w 1781"/>
                <a:gd name="T95" fmla="*/ 239 h 1315"/>
                <a:gd name="T96" fmla="*/ 513 w 1781"/>
                <a:gd name="T97" fmla="*/ 316 h 1315"/>
                <a:gd name="T98" fmla="*/ 523 w 1781"/>
                <a:gd name="T99" fmla="*/ 374 h 1315"/>
                <a:gd name="T100" fmla="*/ 502 w 1781"/>
                <a:gd name="T101" fmla="*/ 354 h 1315"/>
                <a:gd name="T102" fmla="*/ 473 w 1781"/>
                <a:gd name="T103" fmla="*/ 285 h 1315"/>
                <a:gd name="T104" fmla="*/ 509 w 1781"/>
                <a:gd name="T105" fmla="*/ 224 h 1315"/>
                <a:gd name="T106" fmla="*/ 514 w 1781"/>
                <a:gd name="T107" fmla="*/ 165 h 1315"/>
                <a:gd name="T108" fmla="*/ 556 w 1781"/>
                <a:gd name="T109" fmla="*/ 205 h 1315"/>
                <a:gd name="T110" fmla="*/ 551 w 1781"/>
                <a:gd name="T111" fmla="*/ 100 h 1315"/>
                <a:gd name="T112" fmla="*/ 532 w 1781"/>
                <a:gd name="T113" fmla="*/ 79 h 1315"/>
                <a:gd name="T114" fmla="*/ 1002 w 1781"/>
                <a:gd name="T115" fmla="*/ 133 h 1315"/>
                <a:gd name="T116" fmla="*/ 1705 w 1781"/>
                <a:gd name="T117" fmla="*/ 313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81" h="1315">
                  <a:moveTo>
                    <a:pt x="1781" y="326"/>
                  </a:moveTo>
                  <a:cubicBezTo>
                    <a:pt x="1781" y="326"/>
                    <a:pt x="1613" y="1117"/>
                    <a:pt x="1583" y="1160"/>
                  </a:cubicBezTo>
                  <a:cubicBezTo>
                    <a:pt x="1552" y="1202"/>
                    <a:pt x="1586" y="1192"/>
                    <a:pt x="1585" y="1237"/>
                  </a:cubicBezTo>
                  <a:cubicBezTo>
                    <a:pt x="1585" y="1281"/>
                    <a:pt x="1570" y="1315"/>
                    <a:pt x="1570" y="1315"/>
                  </a:cubicBezTo>
                  <a:cubicBezTo>
                    <a:pt x="1114" y="1197"/>
                    <a:pt x="1114" y="1197"/>
                    <a:pt x="1114" y="1197"/>
                  </a:cubicBezTo>
                  <a:cubicBezTo>
                    <a:pt x="1042" y="1191"/>
                    <a:pt x="1042" y="1191"/>
                    <a:pt x="1042" y="1191"/>
                  </a:cubicBezTo>
                  <a:cubicBezTo>
                    <a:pt x="1015" y="1201"/>
                    <a:pt x="1015" y="1201"/>
                    <a:pt x="1015" y="1201"/>
                  </a:cubicBezTo>
                  <a:cubicBezTo>
                    <a:pt x="977" y="1191"/>
                    <a:pt x="977" y="1191"/>
                    <a:pt x="977" y="1191"/>
                  </a:cubicBezTo>
                  <a:cubicBezTo>
                    <a:pt x="946" y="1197"/>
                    <a:pt x="946" y="1197"/>
                    <a:pt x="946" y="1197"/>
                  </a:cubicBezTo>
                  <a:cubicBezTo>
                    <a:pt x="750" y="1205"/>
                    <a:pt x="750" y="1205"/>
                    <a:pt x="750" y="1205"/>
                  </a:cubicBezTo>
                  <a:cubicBezTo>
                    <a:pt x="730" y="1189"/>
                    <a:pt x="730" y="1189"/>
                    <a:pt x="730" y="1189"/>
                  </a:cubicBezTo>
                  <a:cubicBezTo>
                    <a:pt x="705" y="1197"/>
                    <a:pt x="705" y="1197"/>
                    <a:pt x="705" y="1197"/>
                  </a:cubicBezTo>
                  <a:cubicBezTo>
                    <a:pt x="686" y="1203"/>
                    <a:pt x="686" y="1203"/>
                    <a:pt x="686" y="1203"/>
                  </a:cubicBezTo>
                  <a:cubicBezTo>
                    <a:pt x="670" y="1203"/>
                    <a:pt x="670" y="1203"/>
                    <a:pt x="670" y="1203"/>
                  </a:cubicBezTo>
                  <a:cubicBezTo>
                    <a:pt x="651" y="1197"/>
                    <a:pt x="651" y="1197"/>
                    <a:pt x="651" y="1197"/>
                  </a:cubicBezTo>
                  <a:cubicBezTo>
                    <a:pt x="651" y="1189"/>
                    <a:pt x="651" y="1189"/>
                    <a:pt x="651" y="1189"/>
                  </a:cubicBezTo>
                  <a:cubicBezTo>
                    <a:pt x="618" y="1191"/>
                    <a:pt x="618" y="1191"/>
                    <a:pt x="618" y="1191"/>
                  </a:cubicBezTo>
                  <a:cubicBezTo>
                    <a:pt x="599" y="1183"/>
                    <a:pt x="599" y="1183"/>
                    <a:pt x="599" y="1183"/>
                  </a:cubicBezTo>
                  <a:cubicBezTo>
                    <a:pt x="587" y="1172"/>
                    <a:pt x="587" y="1172"/>
                    <a:pt x="587" y="1172"/>
                  </a:cubicBezTo>
                  <a:cubicBezTo>
                    <a:pt x="587" y="1160"/>
                    <a:pt x="587" y="1160"/>
                    <a:pt x="587" y="1160"/>
                  </a:cubicBezTo>
                  <a:cubicBezTo>
                    <a:pt x="558" y="1154"/>
                    <a:pt x="558" y="1154"/>
                    <a:pt x="558" y="1154"/>
                  </a:cubicBezTo>
                  <a:cubicBezTo>
                    <a:pt x="508" y="1143"/>
                    <a:pt x="508" y="1143"/>
                    <a:pt x="508" y="1143"/>
                  </a:cubicBezTo>
                  <a:cubicBezTo>
                    <a:pt x="473" y="1127"/>
                    <a:pt x="473" y="1127"/>
                    <a:pt x="473" y="1127"/>
                  </a:cubicBezTo>
                  <a:cubicBezTo>
                    <a:pt x="457" y="1125"/>
                    <a:pt x="457" y="1125"/>
                    <a:pt x="457" y="1125"/>
                  </a:cubicBezTo>
                  <a:cubicBezTo>
                    <a:pt x="418" y="1127"/>
                    <a:pt x="418" y="1127"/>
                    <a:pt x="418" y="1127"/>
                  </a:cubicBezTo>
                  <a:cubicBezTo>
                    <a:pt x="356" y="1139"/>
                    <a:pt x="356" y="1139"/>
                    <a:pt x="356" y="1139"/>
                  </a:cubicBezTo>
                  <a:cubicBezTo>
                    <a:pt x="277" y="1121"/>
                    <a:pt x="277" y="1121"/>
                    <a:pt x="277" y="1121"/>
                  </a:cubicBezTo>
                  <a:cubicBezTo>
                    <a:pt x="232" y="1079"/>
                    <a:pt x="232" y="1079"/>
                    <a:pt x="232" y="1079"/>
                  </a:cubicBezTo>
                  <a:cubicBezTo>
                    <a:pt x="232" y="1079"/>
                    <a:pt x="252" y="1030"/>
                    <a:pt x="244" y="966"/>
                  </a:cubicBezTo>
                  <a:cubicBezTo>
                    <a:pt x="236" y="902"/>
                    <a:pt x="201" y="889"/>
                    <a:pt x="201" y="889"/>
                  </a:cubicBezTo>
                  <a:cubicBezTo>
                    <a:pt x="170" y="883"/>
                    <a:pt x="170" y="883"/>
                    <a:pt x="170" y="883"/>
                  </a:cubicBezTo>
                  <a:cubicBezTo>
                    <a:pt x="141" y="871"/>
                    <a:pt x="141" y="871"/>
                    <a:pt x="141" y="871"/>
                  </a:cubicBezTo>
                  <a:cubicBezTo>
                    <a:pt x="141" y="871"/>
                    <a:pt x="139" y="834"/>
                    <a:pt x="106" y="834"/>
                  </a:cubicBezTo>
                  <a:cubicBezTo>
                    <a:pt x="72" y="834"/>
                    <a:pt x="72" y="834"/>
                    <a:pt x="72" y="834"/>
                  </a:cubicBezTo>
                  <a:cubicBezTo>
                    <a:pt x="27" y="820"/>
                    <a:pt x="27" y="820"/>
                    <a:pt x="27" y="820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6" y="755"/>
                    <a:pt x="6" y="755"/>
                    <a:pt x="6" y="755"/>
                  </a:cubicBezTo>
                  <a:cubicBezTo>
                    <a:pt x="22" y="710"/>
                    <a:pt x="22" y="710"/>
                    <a:pt x="22" y="710"/>
                  </a:cubicBezTo>
                  <a:cubicBezTo>
                    <a:pt x="29" y="704"/>
                    <a:pt x="29" y="704"/>
                    <a:pt x="29" y="704"/>
                  </a:cubicBezTo>
                  <a:cubicBezTo>
                    <a:pt x="35" y="726"/>
                    <a:pt x="35" y="726"/>
                    <a:pt x="35" y="726"/>
                  </a:cubicBezTo>
                  <a:cubicBezTo>
                    <a:pt x="42" y="735"/>
                    <a:pt x="42" y="735"/>
                    <a:pt x="42" y="735"/>
                  </a:cubicBezTo>
                  <a:cubicBezTo>
                    <a:pt x="51" y="724"/>
                    <a:pt x="51" y="724"/>
                    <a:pt x="51" y="724"/>
                  </a:cubicBezTo>
                  <a:cubicBezTo>
                    <a:pt x="51" y="699"/>
                    <a:pt x="51" y="699"/>
                    <a:pt x="51" y="699"/>
                  </a:cubicBezTo>
                  <a:cubicBezTo>
                    <a:pt x="75" y="686"/>
                    <a:pt x="75" y="686"/>
                    <a:pt x="75" y="686"/>
                  </a:cubicBezTo>
                  <a:cubicBezTo>
                    <a:pt x="76" y="676"/>
                    <a:pt x="76" y="676"/>
                    <a:pt x="76" y="676"/>
                  </a:cubicBezTo>
                  <a:cubicBezTo>
                    <a:pt x="62" y="666"/>
                    <a:pt x="62" y="666"/>
                    <a:pt x="62" y="666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45" y="612"/>
                    <a:pt x="45" y="612"/>
                    <a:pt x="45" y="612"/>
                  </a:cubicBezTo>
                  <a:cubicBezTo>
                    <a:pt x="100" y="603"/>
                    <a:pt x="100" y="603"/>
                    <a:pt x="100" y="603"/>
                  </a:cubicBezTo>
                  <a:cubicBezTo>
                    <a:pt x="113" y="585"/>
                    <a:pt x="113" y="585"/>
                    <a:pt x="113" y="585"/>
                  </a:cubicBezTo>
                  <a:cubicBezTo>
                    <a:pt x="67" y="556"/>
                    <a:pt x="67" y="556"/>
                    <a:pt x="67" y="556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44" y="440"/>
                    <a:pt x="44" y="440"/>
                    <a:pt x="44" y="440"/>
                  </a:cubicBezTo>
                  <a:cubicBezTo>
                    <a:pt x="40" y="417"/>
                    <a:pt x="40" y="417"/>
                    <a:pt x="40" y="417"/>
                  </a:cubicBezTo>
                  <a:cubicBezTo>
                    <a:pt x="55" y="410"/>
                    <a:pt x="55" y="410"/>
                    <a:pt x="55" y="410"/>
                  </a:cubicBezTo>
                  <a:cubicBezTo>
                    <a:pt x="53" y="285"/>
                    <a:pt x="53" y="285"/>
                    <a:pt x="53" y="285"/>
                  </a:cubicBezTo>
                  <a:cubicBezTo>
                    <a:pt x="23" y="252"/>
                    <a:pt x="23" y="252"/>
                    <a:pt x="23" y="25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145" y="147"/>
                    <a:pt x="145" y="147"/>
                    <a:pt x="145" y="147"/>
                  </a:cubicBezTo>
                  <a:cubicBezTo>
                    <a:pt x="226" y="208"/>
                    <a:pt x="226" y="208"/>
                    <a:pt x="226" y="208"/>
                  </a:cubicBezTo>
                  <a:cubicBezTo>
                    <a:pt x="288" y="236"/>
                    <a:pt x="288" y="236"/>
                    <a:pt x="288" y="236"/>
                  </a:cubicBezTo>
                  <a:cubicBezTo>
                    <a:pt x="338" y="246"/>
                    <a:pt x="338" y="246"/>
                    <a:pt x="338" y="246"/>
                  </a:cubicBezTo>
                  <a:cubicBezTo>
                    <a:pt x="361" y="246"/>
                    <a:pt x="361" y="246"/>
                    <a:pt x="361" y="246"/>
                  </a:cubicBezTo>
                  <a:cubicBezTo>
                    <a:pt x="381" y="250"/>
                    <a:pt x="381" y="250"/>
                    <a:pt x="381" y="250"/>
                  </a:cubicBezTo>
                  <a:cubicBezTo>
                    <a:pt x="395" y="296"/>
                    <a:pt x="395" y="296"/>
                    <a:pt x="395" y="296"/>
                  </a:cubicBezTo>
                  <a:cubicBezTo>
                    <a:pt x="451" y="288"/>
                    <a:pt x="451" y="288"/>
                    <a:pt x="451" y="288"/>
                  </a:cubicBezTo>
                  <a:cubicBezTo>
                    <a:pt x="458" y="359"/>
                    <a:pt x="458" y="359"/>
                    <a:pt x="458" y="359"/>
                  </a:cubicBezTo>
                  <a:cubicBezTo>
                    <a:pt x="437" y="384"/>
                    <a:pt x="437" y="384"/>
                    <a:pt x="437" y="384"/>
                  </a:cubicBezTo>
                  <a:cubicBezTo>
                    <a:pt x="375" y="422"/>
                    <a:pt x="375" y="422"/>
                    <a:pt x="375" y="422"/>
                  </a:cubicBezTo>
                  <a:cubicBezTo>
                    <a:pt x="331" y="478"/>
                    <a:pt x="331" y="478"/>
                    <a:pt x="331" y="478"/>
                  </a:cubicBezTo>
                  <a:cubicBezTo>
                    <a:pt x="320" y="502"/>
                    <a:pt x="320" y="502"/>
                    <a:pt x="320" y="502"/>
                  </a:cubicBezTo>
                  <a:cubicBezTo>
                    <a:pt x="334" y="511"/>
                    <a:pt x="334" y="511"/>
                    <a:pt x="334" y="511"/>
                  </a:cubicBezTo>
                  <a:cubicBezTo>
                    <a:pt x="361" y="485"/>
                    <a:pt x="361" y="485"/>
                    <a:pt x="361" y="485"/>
                  </a:cubicBezTo>
                  <a:cubicBezTo>
                    <a:pt x="384" y="454"/>
                    <a:pt x="384" y="454"/>
                    <a:pt x="384" y="454"/>
                  </a:cubicBezTo>
                  <a:cubicBezTo>
                    <a:pt x="443" y="418"/>
                    <a:pt x="443" y="418"/>
                    <a:pt x="443" y="418"/>
                  </a:cubicBezTo>
                  <a:cubicBezTo>
                    <a:pt x="482" y="396"/>
                    <a:pt x="482" y="396"/>
                    <a:pt x="482" y="396"/>
                  </a:cubicBezTo>
                  <a:cubicBezTo>
                    <a:pt x="481" y="422"/>
                    <a:pt x="481" y="422"/>
                    <a:pt x="481" y="422"/>
                  </a:cubicBezTo>
                  <a:cubicBezTo>
                    <a:pt x="457" y="439"/>
                    <a:pt x="457" y="439"/>
                    <a:pt x="457" y="439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361" y="557"/>
                    <a:pt x="361" y="557"/>
                    <a:pt x="361" y="557"/>
                  </a:cubicBezTo>
                  <a:cubicBezTo>
                    <a:pt x="322" y="598"/>
                    <a:pt x="322" y="598"/>
                    <a:pt x="322" y="598"/>
                  </a:cubicBezTo>
                  <a:cubicBezTo>
                    <a:pt x="315" y="628"/>
                    <a:pt x="315" y="628"/>
                    <a:pt x="315" y="628"/>
                  </a:cubicBezTo>
                  <a:cubicBezTo>
                    <a:pt x="348" y="638"/>
                    <a:pt x="348" y="638"/>
                    <a:pt x="348" y="638"/>
                  </a:cubicBezTo>
                  <a:cubicBezTo>
                    <a:pt x="382" y="602"/>
                    <a:pt x="382" y="602"/>
                    <a:pt x="382" y="602"/>
                  </a:cubicBezTo>
                  <a:cubicBezTo>
                    <a:pt x="417" y="572"/>
                    <a:pt x="417" y="572"/>
                    <a:pt x="417" y="572"/>
                  </a:cubicBezTo>
                  <a:cubicBezTo>
                    <a:pt x="450" y="570"/>
                    <a:pt x="450" y="570"/>
                    <a:pt x="450" y="570"/>
                  </a:cubicBezTo>
                  <a:cubicBezTo>
                    <a:pt x="480" y="541"/>
                    <a:pt x="480" y="541"/>
                    <a:pt x="480" y="541"/>
                  </a:cubicBezTo>
                  <a:cubicBezTo>
                    <a:pt x="492" y="471"/>
                    <a:pt x="492" y="471"/>
                    <a:pt x="492" y="471"/>
                  </a:cubicBezTo>
                  <a:cubicBezTo>
                    <a:pt x="519" y="417"/>
                    <a:pt x="519" y="417"/>
                    <a:pt x="519" y="417"/>
                  </a:cubicBezTo>
                  <a:cubicBezTo>
                    <a:pt x="553" y="376"/>
                    <a:pt x="553" y="376"/>
                    <a:pt x="553" y="376"/>
                  </a:cubicBezTo>
                  <a:cubicBezTo>
                    <a:pt x="560" y="343"/>
                    <a:pt x="560" y="343"/>
                    <a:pt x="560" y="343"/>
                  </a:cubicBezTo>
                  <a:cubicBezTo>
                    <a:pt x="541" y="292"/>
                    <a:pt x="541" y="292"/>
                    <a:pt x="541" y="292"/>
                  </a:cubicBezTo>
                  <a:cubicBezTo>
                    <a:pt x="543" y="233"/>
                    <a:pt x="543" y="233"/>
                    <a:pt x="543" y="233"/>
                  </a:cubicBezTo>
                  <a:cubicBezTo>
                    <a:pt x="521" y="239"/>
                    <a:pt x="521" y="239"/>
                    <a:pt x="521" y="239"/>
                  </a:cubicBezTo>
                  <a:cubicBezTo>
                    <a:pt x="503" y="261"/>
                    <a:pt x="503" y="261"/>
                    <a:pt x="503" y="261"/>
                  </a:cubicBezTo>
                  <a:cubicBezTo>
                    <a:pt x="513" y="316"/>
                    <a:pt x="513" y="316"/>
                    <a:pt x="513" y="316"/>
                  </a:cubicBezTo>
                  <a:cubicBezTo>
                    <a:pt x="528" y="361"/>
                    <a:pt x="528" y="361"/>
                    <a:pt x="528" y="361"/>
                  </a:cubicBezTo>
                  <a:cubicBezTo>
                    <a:pt x="523" y="374"/>
                    <a:pt x="523" y="374"/>
                    <a:pt x="523" y="374"/>
                  </a:cubicBezTo>
                  <a:cubicBezTo>
                    <a:pt x="514" y="365"/>
                    <a:pt x="514" y="365"/>
                    <a:pt x="514" y="365"/>
                  </a:cubicBezTo>
                  <a:cubicBezTo>
                    <a:pt x="502" y="354"/>
                    <a:pt x="502" y="354"/>
                    <a:pt x="502" y="354"/>
                  </a:cubicBezTo>
                  <a:cubicBezTo>
                    <a:pt x="484" y="317"/>
                    <a:pt x="484" y="317"/>
                    <a:pt x="484" y="317"/>
                  </a:cubicBezTo>
                  <a:cubicBezTo>
                    <a:pt x="473" y="285"/>
                    <a:pt x="473" y="285"/>
                    <a:pt x="473" y="285"/>
                  </a:cubicBezTo>
                  <a:cubicBezTo>
                    <a:pt x="471" y="255"/>
                    <a:pt x="471" y="255"/>
                    <a:pt x="471" y="255"/>
                  </a:cubicBezTo>
                  <a:cubicBezTo>
                    <a:pt x="509" y="224"/>
                    <a:pt x="509" y="224"/>
                    <a:pt x="509" y="224"/>
                  </a:cubicBezTo>
                  <a:cubicBezTo>
                    <a:pt x="520" y="193"/>
                    <a:pt x="520" y="193"/>
                    <a:pt x="520" y="193"/>
                  </a:cubicBezTo>
                  <a:cubicBezTo>
                    <a:pt x="514" y="165"/>
                    <a:pt x="514" y="165"/>
                    <a:pt x="514" y="165"/>
                  </a:cubicBezTo>
                  <a:cubicBezTo>
                    <a:pt x="545" y="197"/>
                    <a:pt x="545" y="197"/>
                    <a:pt x="545" y="197"/>
                  </a:cubicBezTo>
                  <a:cubicBezTo>
                    <a:pt x="556" y="205"/>
                    <a:pt x="556" y="205"/>
                    <a:pt x="556" y="205"/>
                  </a:cubicBezTo>
                  <a:cubicBezTo>
                    <a:pt x="558" y="166"/>
                    <a:pt x="558" y="166"/>
                    <a:pt x="558" y="166"/>
                  </a:cubicBezTo>
                  <a:cubicBezTo>
                    <a:pt x="551" y="100"/>
                    <a:pt x="551" y="100"/>
                    <a:pt x="551" y="100"/>
                  </a:cubicBezTo>
                  <a:cubicBezTo>
                    <a:pt x="553" y="84"/>
                    <a:pt x="553" y="84"/>
                    <a:pt x="553" y="84"/>
                  </a:cubicBezTo>
                  <a:cubicBezTo>
                    <a:pt x="532" y="79"/>
                    <a:pt x="532" y="79"/>
                    <a:pt x="532" y="79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523" y="0"/>
                    <a:pt x="924" y="112"/>
                    <a:pt x="1002" y="133"/>
                  </a:cubicBezTo>
                  <a:cubicBezTo>
                    <a:pt x="1081" y="154"/>
                    <a:pt x="1591" y="288"/>
                    <a:pt x="1628" y="298"/>
                  </a:cubicBezTo>
                  <a:cubicBezTo>
                    <a:pt x="1666" y="309"/>
                    <a:pt x="1705" y="313"/>
                    <a:pt x="1705" y="313"/>
                  </a:cubicBezTo>
                  <a:lnTo>
                    <a:pt x="1781" y="32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B93E931-FD70-3C03-769D-22C9BF50E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5249" y="7640667"/>
              <a:ext cx="1332856" cy="1365564"/>
            </a:xfrm>
            <a:custGeom>
              <a:avLst/>
              <a:gdLst>
                <a:gd name="T0" fmla="*/ 48 w 326"/>
                <a:gd name="T1" fmla="*/ 0 h 334"/>
                <a:gd name="T2" fmla="*/ 326 w 326"/>
                <a:gd name="T3" fmla="*/ 32 h 334"/>
                <a:gd name="T4" fmla="*/ 324 w 326"/>
                <a:gd name="T5" fmla="*/ 62 h 334"/>
                <a:gd name="T6" fmla="*/ 320 w 326"/>
                <a:gd name="T7" fmla="*/ 62 h 334"/>
                <a:gd name="T8" fmla="*/ 299 w 326"/>
                <a:gd name="T9" fmla="*/ 322 h 334"/>
                <a:gd name="T10" fmla="*/ 131 w 326"/>
                <a:gd name="T11" fmla="*/ 306 h 334"/>
                <a:gd name="T12" fmla="*/ 129 w 326"/>
                <a:gd name="T13" fmla="*/ 320 h 334"/>
                <a:gd name="T14" fmla="*/ 46 w 326"/>
                <a:gd name="T15" fmla="*/ 310 h 334"/>
                <a:gd name="T16" fmla="*/ 40 w 326"/>
                <a:gd name="T17" fmla="*/ 334 h 334"/>
                <a:gd name="T18" fmla="*/ 0 w 326"/>
                <a:gd name="T19" fmla="*/ 328 h 334"/>
                <a:gd name="T20" fmla="*/ 48 w 326"/>
                <a:gd name="T21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6" h="334">
                  <a:moveTo>
                    <a:pt x="48" y="0"/>
                  </a:moveTo>
                  <a:lnTo>
                    <a:pt x="326" y="32"/>
                  </a:lnTo>
                  <a:lnTo>
                    <a:pt x="324" y="62"/>
                  </a:lnTo>
                  <a:lnTo>
                    <a:pt x="320" y="62"/>
                  </a:lnTo>
                  <a:lnTo>
                    <a:pt x="299" y="322"/>
                  </a:lnTo>
                  <a:lnTo>
                    <a:pt x="131" y="306"/>
                  </a:lnTo>
                  <a:lnTo>
                    <a:pt x="129" y="320"/>
                  </a:lnTo>
                  <a:lnTo>
                    <a:pt x="46" y="310"/>
                  </a:lnTo>
                  <a:lnTo>
                    <a:pt x="40" y="334"/>
                  </a:lnTo>
                  <a:lnTo>
                    <a:pt x="0" y="328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8233B11F-1816-54C1-A9A7-463905E3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79958" y="7894155"/>
              <a:ext cx="2641181" cy="2612560"/>
            </a:xfrm>
            <a:custGeom>
              <a:avLst/>
              <a:gdLst>
                <a:gd name="T0" fmla="*/ 645 w 646"/>
                <a:gd name="T1" fmla="*/ 335 h 639"/>
                <a:gd name="T2" fmla="*/ 639 w 646"/>
                <a:gd name="T3" fmla="*/ 308 h 639"/>
                <a:gd name="T4" fmla="*/ 624 w 646"/>
                <a:gd name="T5" fmla="*/ 187 h 639"/>
                <a:gd name="T6" fmla="*/ 597 w 646"/>
                <a:gd name="T7" fmla="*/ 183 h 639"/>
                <a:gd name="T8" fmla="*/ 570 w 646"/>
                <a:gd name="T9" fmla="*/ 168 h 639"/>
                <a:gd name="T10" fmla="*/ 541 w 646"/>
                <a:gd name="T11" fmla="*/ 167 h 639"/>
                <a:gd name="T12" fmla="*/ 523 w 646"/>
                <a:gd name="T13" fmla="*/ 169 h 639"/>
                <a:gd name="T14" fmla="*/ 504 w 646"/>
                <a:gd name="T15" fmla="*/ 175 h 639"/>
                <a:gd name="T16" fmla="*/ 476 w 646"/>
                <a:gd name="T17" fmla="*/ 169 h 639"/>
                <a:gd name="T18" fmla="*/ 466 w 646"/>
                <a:gd name="T19" fmla="*/ 166 h 639"/>
                <a:gd name="T20" fmla="*/ 445 w 646"/>
                <a:gd name="T21" fmla="*/ 160 h 639"/>
                <a:gd name="T22" fmla="*/ 431 w 646"/>
                <a:gd name="T23" fmla="*/ 159 h 639"/>
                <a:gd name="T24" fmla="*/ 406 w 646"/>
                <a:gd name="T25" fmla="*/ 153 h 639"/>
                <a:gd name="T26" fmla="*/ 385 w 646"/>
                <a:gd name="T27" fmla="*/ 145 h 639"/>
                <a:gd name="T28" fmla="*/ 362 w 646"/>
                <a:gd name="T29" fmla="*/ 133 h 639"/>
                <a:gd name="T30" fmla="*/ 347 w 646"/>
                <a:gd name="T31" fmla="*/ 129 h 639"/>
                <a:gd name="T32" fmla="*/ 178 w 646"/>
                <a:gd name="T33" fmla="*/ 260 h 639"/>
                <a:gd name="T34" fmla="*/ 4 w 646"/>
                <a:gd name="T35" fmla="*/ 261 h 639"/>
                <a:gd name="T36" fmla="*/ 19 w 646"/>
                <a:gd name="T37" fmla="*/ 281 h 639"/>
                <a:gd name="T38" fmla="*/ 32 w 646"/>
                <a:gd name="T39" fmla="*/ 293 h 639"/>
                <a:gd name="T40" fmla="*/ 59 w 646"/>
                <a:gd name="T41" fmla="*/ 320 h 639"/>
                <a:gd name="T42" fmla="*/ 78 w 646"/>
                <a:gd name="T43" fmla="*/ 340 h 639"/>
                <a:gd name="T44" fmla="*/ 84 w 646"/>
                <a:gd name="T45" fmla="*/ 370 h 639"/>
                <a:gd name="T46" fmla="*/ 94 w 646"/>
                <a:gd name="T47" fmla="*/ 398 h 639"/>
                <a:gd name="T48" fmla="*/ 106 w 646"/>
                <a:gd name="T49" fmla="*/ 409 h 639"/>
                <a:gd name="T50" fmla="*/ 127 w 646"/>
                <a:gd name="T51" fmla="*/ 424 h 639"/>
                <a:gd name="T52" fmla="*/ 156 w 646"/>
                <a:gd name="T53" fmla="*/ 439 h 639"/>
                <a:gd name="T54" fmla="*/ 171 w 646"/>
                <a:gd name="T55" fmla="*/ 426 h 639"/>
                <a:gd name="T56" fmla="*/ 183 w 646"/>
                <a:gd name="T57" fmla="*/ 404 h 639"/>
                <a:gd name="T58" fmla="*/ 211 w 646"/>
                <a:gd name="T59" fmla="*/ 393 h 639"/>
                <a:gd name="T60" fmla="*/ 243 w 646"/>
                <a:gd name="T61" fmla="*/ 400 h 639"/>
                <a:gd name="T62" fmla="*/ 263 w 646"/>
                <a:gd name="T63" fmla="*/ 417 h 639"/>
                <a:gd name="T64" fmla="*/ 287 w 646"/>
                <a:gd name="T65" fmla="*/ 457 h 639"/>
                <a:gd name="T66" fmla="*/ 302 w 646"/>
                <a:gd name="T67" fmla="*/ 490 h 639"/>
                <a:gd name="T68" fmla="*/ 337 w 646"/>
                <a:gd name="T69" fmla="*/ 531 h 639"/>
                <a:gd name="T70" fmla="*/ 341 w 646"/>
                <a:gd name="T71" fmla="*/ 556 h 639"/>
                <a:gd name="T72" fmla="*/ 356 w 646"/>
                <a:gd name="T73" fmla="*/ 595 h 639"/>
                <a:gd name="T74" fmla="*/ 391 w 646"/>
                <a:gd name="T75" fmla="*/ 612 h 639"/>
                <a:gd name="T76" fmla="*/ 416 w 646"/>
                <a:gd name="T77" fmla="*/ 626 h 639"/>
                <a:gd name="T78" fmla="*/ 437 w 646"/>
                <a:gd name="T79" fmla="*/ 632 h 639"/>
                <a:gd name="T80" fmla="*/ 460 w 646"/>
                <a:gd name="T81" fmla="*/ 631 h 639"/>
                <a:gd name="T82" fmla="*/ 454 w 646"/>
                <a:gd name="T83" fmla="*/ 608 h 639"/>
                <a:gd name="T84" fmla="*/ 441 w 646"/>
                <a:gd name="T85" fmla="*/ 578 h 639"/>
                <a:gd name="T86" fmla="*/ 455 w 646"/>
                <a:gd name="T87" fmla="*/ 528 h 639"/>
                <a:gd name="T88" fmla="*/ 445 w 646"/>
                <a:gd name="T89" fmla="*/ 517 h 639"/>
                <a:gd name="T90" fmla="*/ 467 w 646"/>
                <a:gd name="T91" fmla="*/ 508 h 639"/>
                <a:gd name="T92" fmla="*/ 464 w 646"/>
                <a:gd name="T93" fmla="*/ 501 h 639"/>
                <a:gd name="T94" fmla="*/ 484 w 646"/>
                <a:gd name="T95" fmla="*/ 501 h 639"/>
                <a:gd name="T96" fmla="*/ 481 w 646"/>
                <a:gd name="T97" fmla="*/ 494 h 639"/>
                <a:gd name="T98" fmla="*/ 496 w 646"/>
                <a:gd name="T99" fmla="*/ 489 h 639"/>
                <a:gd name="T100" fmla="*/ 495 w 646"/>
                <a:gd name="T101" fmla="*/ 473 h 639"/>
                <a:gd name="T102" fmla="*/ 511 w 646"/>
                <a:gd name="T103" fmla="*/ 471 h 639"/>
                <a:gd name="T104" fmla="*/ 525 w 646"/>
                <a:gd name="T105" fmla="*/ 470 h 639"/>
                <a:gd name="T106" fmla="*/ 565 w 646"/>
                <a:gd name="T107" fmla="*/ 449 h 639"/>
                <a:gd name="T108" fmla="*/ 578 w 646"/>
                <a:gd name="T109" fmla="*/ 436 h 639"/>
                <a:gd name="T110" fmla="*/ 577 w 646"/>
                <a:gd name="T111" fmla="*/ 423 h 639"/>
                <a:gd name="T112" fmla="*/ 587 w 646"/>
                <a:gd name="T113" fmla="*/ 409 h 639"/>
                <a:gd name="T114" fmla="*/ 589 w 646"/>
                <a:gd name="T115" fmla="*/ 427 h 639"/>
                <a:gd name="T116" fmla="*/ 628 w 646"/>
                <a:gd name="T117" fmla="*/ 412 h 639"/>
                <a:gd name="T118" fmla="*/ 640 w 646"/>
                <a:gd name="T119" fmla="*/ 384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6" h="639">
                  <a:moveTo>
                    <a:pt x="638" y="361"/>
                  </a:moveTo>
                  <a:lnTo>
                    <a:pt x="642" y="351"/>
                  </a:lnTo>
                  <a:lnTo>
                    <a:pt x="646" y="343"/>
                  </a:lnTo>
                  <a:lnTo>
                    <a:pt x="645" y="335"/>
                  </a:lnTo>
                  <a:lnTo>
                    <a:pt x="642" y="323"/>
                  </a:lnTo>
                  <a:lnTo>
                    <a:pt x="641" y="319"/>
                  </a:lnTo>
                  <a:lnTo>
                    <a:pt x="641" y="311"/>
                  </a:lnTo>
                  <a:lnTo>
                    <a:pt x="639" y="308"/>
                  </a:lnTo>
                  <a:lnTo>
                    <a:pt x="633" y="295"/>
                  </a:lnTo>
                  <a:lnTo>
                    <a:pt x="633" y="292"/>
                  </a:lnTo>
                  <a:lnTo>
                    <a:pt x="624" y="283"/>
                  </a:lnTo>
                  <a:lnTo>
                    <a:pt x="624" y="187"/>
                  </a:lnTo>
                  <a:lnTo>
                    <a:pt x="608" y="186"/>
                  </a:lnTo>
                  <a:lnTo>
                    <a:pt x="605" y="188"/>
                  </a:lnTo>
                  <a:lnTo>
                    <a:pt x="601" y="187"/>
                  </a:lnTo>
                  <a:lnTo>
                    <a:pt x="597" y="183"/>
                  </a:lnTo>
                  <a:lnTo>
                    <a:pt x="592" y="180"/>
                  </a:lnTo>
                  <a:lnTo>
                    <a:pt x="585" y="180"/>
                  </a:lnTo>
                  <a:lnTo>
                    <a:pt x="576" y="174"/>
                  </a:lnTo>
                  <a:lnTo>
                    <a:pt x="570" y="168"/>
                  </a:lnTo>
                  <a:lnTo>
                    <a:pt x="563" y="166"/>
                  </a:lnTo>
                  <a:lnTo>
                    <a:pt x="553" y="169"/>
                  </a:lnTo>
                  <a:lnTo>
                    <a:pt x="549" y="168"/>
                  </a:lnTo>
                  <a:lnTo>
                    <a:pt x="541" y="167"/>
                  </a:lnTo>
                  <a:lnTo>
                    <a:pt x="537" y="170"/>
                  </a:lnTo>
                  <a:lnTo>
                    <a:pt x="532" y="171"/>
                  </a:lnTo>
                  <a:lnTo>
                    <a:pt x="528" y="169"/>
                  </a:lnTo>
                  <a:lnTo>
                    <a:pt x="523" y="169"/>
                  </a:lnTo>
                  <a:lnTo>
                    <a:pt x="520" y="172"/>
                  </a:lnTo>
                  <a:lnTo>
                    <a:pt x="513" y="177"/>
                  </a:lnTo>
                  <a:lnTo>
                    <a:pt x="507" y="179"/>
                  </a:lnTo>
                  <a:lnTo>
                    <a:pt x="504" y="175"/>
                  </a:lnTo>
                  <a:lnTo>
                    <a:pt x="500" y="171"/>
                  </a:lnTo>
                  <a:lnTo>
                    <a:pt x="489" y="171"/>
                  </a:lnTo>
                  <a:lnTo>
                    <a:pt x="482" y="168"/>
                  </a:lnTo>
                  <a:lnTo>
                    <a:pt x="476" y="169"/>
                  </a:lnTo>
                  <a:lnTo>
                    <a:pt x="472" y="175"/>
                  </a:lnTo>
                  <a:lnTo>
                    <a:pt x="470" y="176"/>
                  </a:lnTo>
                  <a:lnTo>
                    <a:pt x="468" y="169"/>
                  </a:lnTo>
                  <a:lnTo>
                    <a:pt x="466" y="166"/>
                  </a:lnTo>
                  <a:lnTo>
                    <a:pt x="457" y="172"/>
                  </a:lnTo>
                  <a:lnTo>
                    <a:pt x="455" y="166"/>
                  </a:lnTo>
                  <a:lnTo>
                    <a:pt x="447" y="160"/>
                  </a:lnTo>
                  <a:lnTo>
                    <a:pt x="445" y="160"/>
                  </a:lnTo>
                  <a:lnTo>
                    <a:pt x="442" y="164"/>
                  </a:lnTo>
                  <a:lnTo>
                    <a:pt x="437" y="167"/>
                  </a:lnTo>
                  <a:lnTo>
                    <a:pt x="433" y="167"/>
                  </a:lnTo>
                  <a:lnTo>
                    <a:pt x="431" y="159"/>
                  </a:lnTo>
                  <a:lnTo>
                    <a:pt x="427" y="159"/>
                  </a:lnTo>
                  <a:lnTo>
                    <a:pt x="423" y="151"/>
                  </a:lnTo>
                  <a:lnTo>
                    <a:pt x="411" y="150"/>
                  </a:lnTo>
                  <a:lnTo>
                    <a:pt x="406" y="153"/>
                  </a:lnTo>
                  <a:lnTo>
                    <a:pt x="402" y="148"/>
                  </a:lnTo>
                  <a:lnTo>
                    <a:pt x="400" y="149"/>
                  </a:lnTo>
                  <a:lnTo>
                    <a:pt x="393" y="150"/>
                  </a:lnTo>
                  <a:lnTo>
                    <a:pt x="385" y="145"/>
                  </a:lnTo>
                  <a:lnTo>
                    <a:pt x="374" y="145"/>
                  </a:lnTo>
                  <a:lnTo>
                    <a:pt x="371" y="134"/>
                  </a:lnTo>
                  <a:lnTo>
                    <a:pt x="366" y="131"/>
                  </a:lnTo>
                  <a:lnTo>
                    <a:pt x="362" y="133"/>
                  </a:lnTo>
                  <a:lnTo>
                    <a:pt x="359" y="132"/>
                  </a:lnTo>
                  <a:lnTo>
                    <a:pt x="353" y="132"/>
                  </a:lnTo>
                  <a:lnTo>
                    <a:pt x="350" y="133"/>
                  </a:lnTo>
                  <a:lnTo>
                    <a:pt x="347" y="129"/>
                  </a:lnTo>
                  <a:lnTo>
                    <a:pt x="336" y="120"/>
                  </a:lnTo>
                  <a:lnTo>
                    <a:pt x="342" y="9"/>
                  </a:lnTo>
                  <a:lnTo>
                    <a:pt x="199" y="0"/>
                  </a:lnTo>
                  <a:lnTo>
                    <a:pt x="178" y="260"/>
                  </a:lnTo>
                  <a:lnTo>
                    <a:pt x="10" y="244"/>
                  </a:lnTo>
                  <a:lnTo>
                    <a:pt x="8" y="258"/>
                  </a:lnTo>
                  <a:lnTo>
                    <a:pt x="0" y="257"/>
                  </a:lnTo>
                  <a:lnTo>
                    <a:pt x="4" y="261"/>
                  </a:lnTo>
                  <a:lnTo>
                    <a:pt x="10" y="266"/>
                  </a:lnTo>
                  <a:lnTo>
                    <a:pt x="14" y="272"/>
                  </a:lnTo>
                  <a:lnTo>
                    <a:pt x="15" y="276"/>
                  </a:lnTo>
                  <a:lnTo>
                    <a:pt x="19" y="281"/>
                  </a:lnTo>
                  <a:lnTo>
                    <a:pt x="22" y="283"/>
                  </a:lnTo>
                  <a:lnTo>
                    <a:pt x="27" y="285"/>
                  </a:lnTo>
                  <a:lnTo>
                    <a:pt x="30" y="289"/>
                  </a:lnTo>
                  <a:lnTo>
                    <a:pt x="32" y="293"/>
                  </a:lnTo>
                  <a:lnTo>
                    <a:pt x="37" y="300"/>
                  </a:lnTo>
                  <a:lnTo>
                    <a:pt x="44" y="305"/>
                  </a:lnTo>
                  <a:lnTo>
                    <a:pt x="55" y="320"/>
                  </a:lnTo>
                  <a:lnTo>
                    <a:pt x="59" y="320"/>
                  </a:lnTo>
                  <a:lnTo>
                    <a:pt x="63" y="325"/>
                  </a:lnTo>
                  <a:lnTo>
                    <a:pt x="69" y="328"/>
                  </a:lnTo>
                  <a:lnTo>
                    <a:pt x="76" y="334"/>
                  </a:lnTo>
                  <a:lnTo>
                    <a:pt x="78" y="340"/>
                  </a:lnTo>
                  <a:lnTo>
                    <a:pt x="80" y="351"/>
                  </a:lnTo>
                  <a:lnTo>
                    <a:pt x="84" y="359"/>
                  </a:lnTo>
                  <a:lnTo>
                    <a:pt x="85" y="364"/>
                  </a:lnTo>
                  <a:lnTo>
                    <a:pt x="84" y="370"/>
                  </a:lnTo>
                  <a:lnTo>
                    <a:pt x="84" y="378"/>
                  </a:lnTo>
                  <a:lnTo>
                    <a:pt x="87" y="386"/>
                  </a:lnTo>
                  <a:lnTo>
                    <a:pt x="92" y="393"/>
                  </a:lnTo>
                  <a:lnTo>
                    <a:pt x="94" y="398"/>
                  </a:lnTo>
                  <a:lnTo>
                    <a:pt x="96" y="400"/>
                  </a:lnTo>
                  <a:lnTo>
                    <a:pt x="99" y="402"/>
                  </a:lnTo>
                  <a:lnTo>
                    <a:pt x="103" y="405"/>
                  </a:lnTo>
                  <a:lnTo>
                    <a:pt x="106" y="409"/>
                  </a:lnTo>
                  <a:lnTo>
                    <a:pt x="112" y="414"/>
                  </a:lnTo>
                  <a:lnTo>
                    <a:pt x="115" y="418"/>
                  </a:lnTo>
                  <a:lnTo>
                    <a:pt x="120" y="419"/>
                  </a:lnTo>
                  <a:lnTo>
                    <a:pt x="127" y="424"/>
                  </a:lnTo>
                  <a:lnTo>
                    <a:pt x="136" y="428"/>
                  </a:lnTo>
                  <a:lnTo>
                    <a:pt x="145" y="434"/>
                  </a:lnTo>
                  <a:lnTo>
                    <a:pt x="150" y="437"/>
                  </a:lnTo>
                  <a:lnTo>
                    <a:pt x="156" y="439"/>
                  </a:lnTo>
                  <a:lnTo>
                    <a:pt x="162" y="439"/>
                  </a:lnTo>
                  <a:lnTo>
                    <a:pt x="165" y="433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6" y="425"/>
                  </a:lnTo>
                  <a:lnTo>
                    <a:pt x="176" y="417"/>
                  </a:lnTo>
                  <a:lnTo>
                    <a:pt x="179" y="412"/>
                  </a:lnTo>
                  <a:lnTo>
                    <a:pt x="183" y="404"/>
                  </a:lnTo>
                  <a:lnTo>
                    <a:pt x="190" y="397"/>
                  </a:lnTo>
                  <a:lnTo>
                    <a:pt x="200" y="395"/>
                  </a:lnTo>
                  <a:lnTo>
                    <a:pt x="206" y="393"/>
                  </a:lnTo>
                  <a:lnTo>
                    <a:pt x="211" y="393"/>
                  </a:lnTo>
                  <a:lnTo>
                    <a:pt x="219" y="396"/>
                  </a:lnTo>
                  <a:lnTo>
                    <a:pt x="228" y="398"/>
                  </a:lnTo>
                  <a:lnTo>
                    <a:pt x="232" y="398"/>
                  </a:lnTo>
                  <a:lnTo>
                    <a:pt x="243" y="400"/>
                  </a:lnTo>
                  <a:lnTo>
                    <a:pt x="248" y="402"/>
                  </a:lnTo>
                  <a:lnTo>
                    <a:pt x="252" y="410"/>
                  </a:lnTo>
                  <a:lnTo>
                    <a:pt x="256" y="410"/>
                  </a:lnTo>
                  <a:lnTo>
                    <a:pt x="263" y="417"/>
                  </a:lnTo>
                  <a:lnTo>
                    <a:pt x="267" y="420"/>
                  </a:lnTo>
                  <a:lnTo>
                    <a:pt x="273" y="429"/>
                  </a:lnTo>
                  <a:lnTo>
                    <a:pt x="281" y="441"/>
                  </a:lnTo>
                  <a:lnTo>
                    <a:pt x="287" y="457"/>
                  </a:lnTo>
                  <a:lnTo>
                    <a:pt x="291" y="463"/>
                  </a:lnTo>
                  <a:lnTo>
                    <a:pt x="296" y="474"/>
                  </a:lnTo>
                  <a:lnTo>
                    <a:pt x="296" y="479"/>
                  </a:lnTo>
                  <a:lnTo>
                    <a:pt x="302" y="490"/>
                  </a:lnTo>
                  <a:lnTo>
                    <a:pt x="312" y="500"/>
                  </a:lnTo>
                  <a:lnTo>
                    <a:pt x="316" y="512"/>
                  </a:lnTo>
                  <a:lnTo>
                    <a:pt x="330" y="529"/>
                  </a:lnTo>
                  <a:lnTo>
                    <a:pt x="337" y="531"/>
                  </a:lnTo>
                  <a:lnTo>
                    <a:pt x="335" y="544"/>
                  </a:lnTo>
                  <a:lnTo>
                    <a:pt x="333" y="548"/>
                  </a:lnTo>
                  <a:lnTo>
                    <a:pt x="336" y="551"/>
                  </a:lnTo>
                  <a:lnTo>
                    <a:pt x="341" y="556"/>
                  </a:lnTo>
                  <a:lnTo>
                    <a:pt x="341" y="564"/>
                  </a:lnTo>
                  <a:lnTo>
                    <a:pt x="349" y="579"/>
                  </a:lnTo>
                  <a:lnTo>
                    <a:pt x="352" y="589"/>
                  </a:lnTo>
                  <a:lnTo>
                    <a:pt x="356" y="595"/>
                  </a:lnTo>
                  <a:lnTo>
                    <a:pt x="359" y="601"/>
                  </a:lnTo>
                  <a:lnTo>
                    <a:pt x="371" y="604"/>
                  </a:lnTo>
                  <a:lnTo>
                    <a:pt x="379" y="612"/>
                  </a:lnTo>
                  <a:lnTo>
                    <a:pt x="391" y="612"/>
                  </a:lnTo>
                  <a:lnTo>
                    <a:pt x="401" y="621"/>
                  </a:lnTo>
                  <a:lnTo>
                    <a:pt x="406" y="621"/>
                  </a:lnTo>
                  <a:lnTo>
                    <a:pt x="410" y="625"/>
                  </a:lnTo>
                  <a:lnTo>
                    <a:pt x="416" y="626"/>
                  </a:lnTo>
                  <a:lnTo>
                    <a:pt x="418" y="623"/>
                  </a:lnTo>
                  <a:lnTo>
                    <a:pt x="432" y="627"/>
                  </a:lnTo>
                  <a:lnTo>
                    <a:pt x="432" y="628"/>
                  </a:lnTo>
                  <a:lnTo>
                    <a:pt x="437" y="632"/>
                  </a:lnTo>
                  <a:lnTo>
                    <a:pt x="445" y="639"/>
                  </a:lnTo>
                  <a:lnTo>
                    <a:pt x="448" y="636"/>
                  </a:lnTo>
                  <a:lnTo>
                    <a:pt x="450" y="632"/>
                  </a:lnTo>
                  <a:lnTo>
                    <a:pt x="460" y="631"/>
                  </a:lnTo>
                  <a:lnTo>
                    <a:pt x="458" y="623"/>
                  </a:lnTo>
                  <a:lnTo>
                    <a:pt x="457" y="619"/>
                  </a:lnTo>
                  <a:lnTo>
                    <a:pt x="456" y="614"/>
                  </a:lnTo>
                  <a:lnTo>
                    <a:pt x="454" y="608"/>
                  </a:lnTo>
                  <a:lnTo>
                    <a:pt x="449" y="605"/>
                  </a:lnTo>
                  <a:lnTo>
                    <a:pt x="447" y="597"/>
                  </a:lnTo>
                  <a:lnTo>
                    <a:pt x="445" y="587"/>
                  </a:lnTo>
                  <a:lnTo>
                    <a:pt x="441" y="578"/>
                  </a:lnTo>
                  <a:lnTo>
                    <a:pt x="442" y="569"/>
                  </a:lnTo>
                  <a:lnTo>
                    <a:pt x="445" y="556"/>
                  </a:lnTo>
                  <a:lnTo>
                    <a:pt x="449" y="544"/>
                  </a:lnTo>
                  <a:lnTo>
                    <a:pt x="455" y="528"/>
                  </a:lnTo>
                  <a:lnTo>
                    <a:pt x="454" y="526"/>
                  </a:lnTo>
                  <a:lnTo>
                    <a:pt x="450" y="524"/>
                  </a:lnTo>
                  <a:lnTo>
                    <a:pt x="445" y="519"/>
                  </a:lnTo>
                  <a:lnTo>
                    <a:pt x="445" y="517"/>
                  </a:lnTo>
                  <a:lnTo>
                    <a:pt x="448" y="518"/>
                  </a:lnTo>
                  <a:lnTo>
                    <a:pt x="461" y="517"/>
                  </a:lnTo>
                  <a:lnTo>
                    <a:pt x="463" y="515"/>
                  </a:lnTo>
                  <a:lnTo>
                    <a:pt x="467" y="508"/>
                  </a:lnTo>
                  <a:lnTo>
                    <a:pt x="463" y="508"/>
                  </a:lnTo>
                  <a:lnTo>
                    <a:pt x="462" y="504"/>
                  </a:lnTo>
                  <a:lnTo>
                    <a:pt x="461" y="502"/>
                  </a:lnTo>
                  <a:lnTo>
                    <a:pt x="464" y="501"/>
                  </a:lnTo>
                  <a:lnTo>
                    <a:pt x="470" y="501"/>
                  </a:lnTo>
                  <a:lnTo>
                    <a:pt x="477" y="500"/>
                  </a:lnTo>
                  <a:lnTo>
                    <a:pt x="480" y="502"/>
                  </a:lnTo>
                  <a:lnTo>
                    <a:pt x="484" y="501"/>
                  </a:lnTo>
                  <a:lnTo>
                    <a:pt x="491" y="495"/>
                  </a:lnTo>
                  <a:lnTo>
                    <a:pt x="489" y="495"/>
                  </a:lnTo>
                  <a:lnTo>
                    <a:pt x="483" y="498"/>
                  </a:lnTo>
                  <a:lnTo>
                    <a:pt x="481" y="494"/>
                  </a:lnTo>
                  <a:lnTo>
                    <a:pt x="484" y="485"/>
                  </a:lnTo>
                  <a:lnTo>
                    <a:pt x="487" y="487"/>
                  </a:lnTo>
                  <a:lnTo>
                    <a:pt x="490" y="489"/>
                  </a:lnTo>
                  <a:lnTo>
                    <a:pt x="496" y="489"/>
                  </a:lnTo>
                  <a:lnTo>
                    <a:pt x="500" y="487"/>
                  </a:lnTo>
                  <a:lnTo>
                    <a:pt x="499" y="481"/>
                  </a:lnTo>
                  <a:lnTo>
                    <a:pt x="494" y="475"/>
                  </a:lnTo>
                  <a:lnTo>
                    <a:pt x="495" y="473"/>
                  </a:lnTo>
                  <a:lnTo>
                    <a:pt x="500" y="474"/>
                  </a:lnTo>
                  <a:lnTo>
                    <a:pt x="504" y="471"/>
                  </a:lnTo>
                  <a:lnTo>
                    <a:pt x="507" y="473"/>
                  </a:lnTo>
                  <a:lnTo>
                    <a:pt x="511" y="471"/>
                  </a:lnTo>
                  <a:lnTo>
                    <a:pt x="513" y="473"/>
                  </a:lnTo>
                  <a:lnTo>
                    <a:pt x="517" y="477"/>
                  </a:lnTo>
                  <a:lnTo>
                    <a:pt x="522" y="474"/>
                  </a:lnTo>
                  <a:lnTo>
                    <a:pt x="525" y="470"/>
                  </a:lnTo>
                  <a:lnTo>
                    <a:pt x="535" y="468"/>
                  </a:lnTo>
                  <a:lnTo>
                    <a:pt x="546" y="466"/>
                  </a:lnTo>
                  <a:lnTo>
                    <a:pt x="562" y="457"/>
                  </a:lnTo>
                  <a:lnTo>
                    <a:pt x="565" y="449"/>
                  </a:lnTo>
                  <a:lnTo>
                    <a:pt x="567" y="441"/>
                  </a:lnTo>
                  <a:lnTo>
                    <a:pt x="572" y="439"/>
                  </a:lnTo>
                  <a:lnTo>
                    <a:pt x="575" y="438"/>
                  </a:lnTo>
                  <a:lnTo>
                    <a:pt x="578" y="436"/>
                  </a:lnTo>
                  <a:lnTo>
                    <a:pt x="581" y="433"/>
                  </a:lnTo>
                  <a:lnTo>
                    <a:pt x="580" y="429"/>
                  </a:lnTo>
                  <a:lnTo>
                    <a:pt x="578" y="425"/>
                  </a:lnTo>
                  <a:lnTo>
                    <a:pt x="577" y="423"/>
                  </a:lnTo>
                  <a:lnTo>
                    <a:pt x="576" y="421"/>
                  </a:lnTo>
                  <a:lnTo>
                    <a:pt x="578" y="416"/>
                  </a:lnTo>
                  <a:lnTo>
                    <a:pt x="582" y="411"/>
                  </a:lnTo>
                  <a:lnTo>
                    <a:pt x="587" y="409"/>
                  </a:lnTo>
                  <a:lnTo>
                    <a:pt x="589" y="409"/>
                  </a:lnTo>
                  <a:lnTo>
                    <a:pt x="589" y="413"/>
                  </a:lnTo>
                  <a:lnTo>
                    <a:pt x="590" y="419"/>
                  </a:lnTo>
                  <a:lnTo>
                    <a:pt x="589" y="427"/>
                  </a:lnTo>
                  <a:lnTo>
                    <a:pt x="592" y="428"/>
                  </a:lnTo>
                  <a:lnTo>
                    <a:pt x="600" y="422"/>
                  </a:lnTo>
                  <a:lnTo>
                    <a:pt x="607" y="420"/>
                  </a:lnTo>
                  <a:lnTo>
                    <a:pt x="628" y="412"/>
                  </a:lnTo>
                  <a:lnTo>
                    <a:pt x="632" y="410"/>
                  </a:lnTo>
                  <a:lnTo>
                    <a:pt x="636" y="403"/>
                  </a:lnTo>
                  <a:lnTo>
                    <a:pt x="640" y="388"/>
                  </a:lnTo>
                  <a:lnTo>
                    <a:pt x="640" y="384"/>
                  </a:lnTo>
                  <a:lnTo>
                    <a:pt x="636" y="372"/>
                  </a:lnTo>
                  <a:lnTo>
                    <a:pt x="637" y="366"/>
                  </a:lnTo>
                  <a:lnTo>
                    <a:pt x="638" y="361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3A1B2B9-8FAE-75CC-01FD-EE5500F85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1791" y="7473039"/>
              <a:ext cx="1279707" cy="1508661"/>
            </a:xfrm>
            <a:custGeom>
              <a:avLst/>
              <a:gdLst>
                <a:gd name="T0" fmla="*/ 502 w 1792"/>
                <a:gd name="T1" fmla="*/ 0 h 2108"/>
                <a:gd name="T2" fmla="*/ 466 w 1792"/>
                <a:gd name="T3" fmla="*/ 173 h 2108"/>
                <a:gd name="T4" fmla="*/ 429 w 1792"/>
                <a:gd name="T5" fmla="*/ 296 h 2108"/>
                <a:gd name="T6" fmla="*/ 405 w 1792"/>
                <a:gd name="T7" fmla="*/ 310 h 2108"/>
                <a:gd name="T8" fmla="*/ 386 w 1792"/>
                <a:gd name="T9" fmla="*/ 300 h 2108"/>
                <a:gd name="T10" fmla="*/ 353 w 1792"/>
                <a:gd name="T11" fmla="*/ 273 h 2108"/>
                <a:gd name="T12" fmla="*/ 324 w 1792"/>
                <a:gd name="T13" fmla="*/ 288 h 2108"/>
                <a:gd name="T14" fmla="*/ 308 w 1792"/>
                <a:gd name="T15" fmla="*/ 259 h 2108"/>
                <a:gd name="T16" fmla="*/ 262 w 1792"/>
                <a:gd name="T17" fmla="*/ 271 h 2108"/>
                <a:gd name="T18" fmla="*/ 241 w 1792"/>
                <a:gd name="T19" fmla="*/ 294 h 2108"/>
                <a:gd name="T20" fmla="*/ 243 w 1792"/>
                <a:gd name="T21" fmla="*/ 366 h 2108"/>
                <a:gd name="T22" fmla="*/ 241 w 1792"/>
                <a:gd name="T23" fmla="*/ 465 h 2108"/>
                <a:gd name="T24" fmla="*/ 241 w 1792"/>
                <a:gd name="T25" fmla="*/ 552 h 2108"/>
                <a:gd name="T26" fmla="*/ 235 w 1792"/>
                <a:gd name="T27" fmla="*/ 585 h 2108"/>
                <a:gd name="T28" fmla="*/ 212 w 1792"/>
                <a:gd name="T29" fmla="*/ 616 h 2108"/>
                <a:gd name="T30" fmla="*/ 204 w 1792"/>
                <a:gd name="T31" fmla="*/ 653 h 2108"/>
                <a:gd name="T32" fmla="*/ 208 w 1792"/>
                <a:gd name="T33" fmla="*/ 697 h 2108"/>
                <a:gd name="T34" fmla="*/ 233 w 1792"/>
                <a:gd name="T35" fmla="*/ 761 h 2108"/>
                <a:gd name="T36" fmla="*/ 237 w 1792"/>
                <a:gd name="T37" fmla="*/ 823 h 2108"/>
                <a:gd name="T38" fmla="*/ 256 w 1792"/>
                <a:gd name="T39" fmla="*/ 843 h 2108"/>
                <a:gd name="T40" fmla="*/ 287 w 1792"/>
                <a:gd name="T41" fmla="*/ 885 h 2108"/>
                <a:gd name="T42" fmla="*/ 266 w 1792"/>
                <a:gd name="T43" fmla="*/ 903 h 2108"/>
                <a:gd name="T44" fmla="*/ 231 w 1792"/>
                <a:gd name="T45" fmla="*/ 926 h 2108"/>
                <a:gd name="T46" fmla="*/ 163 w 1792"/>
                <a:gd name="T47" fmla="*/ 980 h 2108"/>
                <a:gd name="T48" fmla="*/ 140 w 1792"/>
                <a:gd name="T49" fmla="*/ 1071 h 2108"/>
                <a:gd name="T50" fmla="*/ 113 w 1792"/>
                <a:gd name="T51" fmla="*/ 1124 h 2108"/>
                <a:gd name="T52" fmla="*/ 91 w 1792"/>
                <a:gd name="T53" fmla="*/ 1147 h 2108"/>
                <a:gd name="T54" fmla="*/ 72 w 1792"/>
                <a:gd name="T55" fmla="*/ 1160 h 2108"/>
                <a:gd name="T56" fmla="*/ 60 w 1792"/>
                <a:gd name="T57" fmla="*/ 1185 h 2108"/>
                <a:gd name="T58" fmla="*/ 70 w 1792"/>
                <a:gd name="T59" fmla="*/ 1232 h 2108"/>
                <a:gd name="T60" fmla="*/ 60 w 1792"/>
                <a:gd name="T61" fmla="*/ 1269 h 2108"/>
                <a:gd name="T62" fmla="*/ 103 w 1792"/>
                <a:gd name="T63" fmla="*/ 1304 h 2108"/>
                <a:gd name="T64" fmla="*/ 86 w 1792"/>
                <a:gd name="T65" fmla="*/ 1331 h 2108"/>
                <a:gd name="T66" fmla="*/ 33 w 1792"/>
                <a:gd name="T67" fmla="*/ 1356 h 2108"/>
                <a:gd name="T68" fmla="*/ 16 w 1792"/>
                <a:gd name="T69" fmla="*/ 1385 h 2108"/>
                <a:gd name="T70" fmla="*/ 0 w 1792"/>
                <a:gd name="T71" fmla="*/ 1430 h 2108"/>
                <a:gd name="T72" fmla="*/ 958 w 1792"/>
                <a:gd name="T73" fmla="*/ 2016 h 2108"/>
                <a:gd name="T74" fmla="*/ 1262 w 1792"/>
                <a:gd name="T75" fmla="*/ 2070 h 2108"/>
                <a:gd name="T76" fmla="*/ 1512 w 1792"/>
                <a:gd name="T77" fmla="*/ 2106 h 2108"/>
                <a:gd name="T78" fmla="*/ 1516 w 1792"/>
                <a:gd name="T79" fmla="*/ 2108 h 2108"/>
                <a:gd name="T80" fmla="*/ 1792 w 1792"/>
                <a:gd name="T81" fmla="*/ 230 h 2108"/>
                <a:gd name="T82" fmla="*/ 502 w 1792"/>
                <a:gd name="T83" fmla="*/ 0 h 2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92" h="2108">
                  <a:moveTo>
                    <a:pt x="502" y="0"/>
                  </a:moveTo>
                  <a:cubicBezTo>
                    <a:pt x="502" y="0"/>
                    <a:pt x="476" y="130"/>
                    <a:pt x="466" y="173"/>
                  </a:cubicBezTo>
                  <a:cubicBezTo>
                    <a:pt x="458" y="204"/>
                    <a:pt x="429" y="296"/>
                    <a:pt x="429" y="296"/>
                  </a:cubicBezTo>
                  <a:cubicBezTo>
                    <a:pt x="405" y="310"/>
                    <a:pt x="405" y="310"/>
                    <a:pt x="405" y="310"/>
                  </a:cubicBezTo>
                  <a:cubicBezTo>
                    <a:pt x="386" y="300"/>
                    <a:pt x="386" y="300"/>
                    <a:pt x="386" y="300"/>
                  </a:cubicBezTo>
                  <a:cubicBezTo>
                    <a:pt x="353" y="273"/>
                    <a:pt x="353" y="273"/>
                    <a:pt x="353" y="273"/>
                  </a:cubicBezTo>
                  <a:cubicBezTo>
                    <a:pt x="324" y="288"/>
                    <a:pt x="324" y="288"/>
                    <a:pt x="324" y="288"/>
                  </a:cubicBezTo>
                  <a:cubicBezTo>
                    <a:pt x="308" y="259"/>
                    <a:pt x="308" y="259"/>
                    <a:pt x="308" y="259"/>
                  </a:cubicBezTo>
                  <a:cubicBezTo>
                    <a:pt x="262" y="271"/>
                    <a:pt x="262" y="271"/>
                    <a:pt x="262" y="271"/>
                  </a:cubicBezTo>
                  <a:cubicBezTo>
                    <a:pt x="241" y="294"/>
                    <a:pt x="241" y="294"/>
                    <a:pt x="241" y="294"/>
                  </a:cubicBezTo>
                  <a:cubicBezTo>
                    <a:pt x="243" y="366"/>
                    <a:pt x="243" y="366"/>
                    <a:pt x="243" y="366"/>
                  </a:cubicBezTo>
                  <a:cubicBezTo>
                    <a:pt x="241" y="465"/>
                    <a:pt x="241" y="465"/>
                    <a:pt x="241" y="465"/>
                  </a:cubicBezTo>
                  <a:cubicBezTo>
                    <a:pt x="241" y="552"/>
                    <a:pt x="241" y="552"/>
                    <a:pt x="241" y="552"/>
                  </a:cubicBezTo>
                  <a:cubicBezTo>
                    <a:pt x="235" y="585"/>
                    <a:pt x="235" y="585"/>
                    <a:pt x="235" y="585"/>
                  </a:cubicBezTo>
                  <a:cubicBezTo>
                    <a:pt x="212" y="616"/>
                    <a:pt x="212" y="616"/>
                    <a:pt x="212" y="616"/>
                  </a:cubicBezTo>
                  <a:cubicBezTo>
                    <a:pt x="204" y="653"/>
                    <a:pt x="204" y="653"/>
                    <a:pt x="204" y="653"/>
                  </a:cubicBezTo>
                  <a:cubicBezTo>
                    <a:pt x="208" y="697"/>
                    <a:pt x="208" y="697"/>
                    <a:pt x="208" y="697"/>
                  </a:cubicBezTo>
                  <a:cubicBezTo>
                    <a:pt x="233" y="761"/>
                    <a:pt x="233" y="761"/>
                    <a:pt x="233" y="761"/>
                  </a:cubicBezTo>
                  <a:cubicBezTo>
                    <a:pt x="237" y="823"/>
                    <a:pt x="237" y="823"/>
                    <a:pt x="237" y="823"/>
                  </a:cubicBezTo>
                  <a:cubicBezTo>
                    <a:pt x="256" y="843"/>
                    <a:pt x="256" y="843"/>
                    <a:pt x="256" y="843"/>
                  </a:cubicBezTo>
                  <a:cubicBezTo>
                    <a:pt x="287" y="885"/>
                    <a:pt x="287" y="885"/>
                    <a:pt x="287" y="885"/>
                  </a:cubicBezTo>
                  <a:cubicBezTo>
                    <a:pt x="266" y="903"/>
                    <a:pt x="266" y="903"/>
                    <a:pt x="266" y="903"/>
                  </a:cubicBezTo>
                  <a:cubicBezTo>
                    <a:pt x="231" y="926"/>
                    <a:pt x="231" y="926"/>
                    <a:pt x="231" y="926"/>
                  </a:cubicBezTo>
                  <a:cubicBezTo>
                    <a:pt x="163" y="980"/>
                    <a:pt x="163" y="980"/>
                    <a:pt x="163" y="980"/>
                  </a:cubicBezTo>
                  <a:cubicBezTo>
                    <a:pt x="140" y="1071"/>
                    <a:pt x="140" y="1071"/>
                    <a:pt x="140" y="1071"/>
                  </a:cubicBezTo>
                  <a:cubicBezTo>
                    <a:pt x="113" y="1124"/>
                    <a:pt x="113" y="1124"/>
                    <a:pt x="113" y="1124"/>
                  </a:cubicBezTo>
                  <a:cubicBezTo>
                    <a:pt x="91" y="1147"/>
                    <a:pt x="91" y="1147"/>
                    <a:pt x="91" y="1147"/>
                  </a:cubicBezTo>
                  <a:cubicBezTo>
                    <a:pt x="72" y="1160"/>
                    <a:pt x="72" y="1160"/>
                    <a:pt x="72" y="1160"/>
                  </a:cubicBezTo>
                  <a:cubicBezTo>
                    <a:pt x="60" y="1185"/>
                    <a:pt x="60" y="1185"/>
                    <a:pt x="60" y="1185"/>
                  </a:cubicBezTo>
                  <a:cubicBezTo>
                    <a:pt x="70" y="1232"/>
                    <a:pt x="70" y="1232"/>
                    <a:pt x="70" y="1232"/>
                  </a:cubicBezTo>
                  <a:cubicBezTo>
                    <a:pt x="60" y="1269"/>
                    <a:pt x="60" y="1269"/>
                    <a:pt x="60" y="1269"/>
                  </a:cubicBezTo>
                  <a:cubicBezTo>
                    <a:pt x="103" y="1304"/>
                    <a:pt x="103" y="1304"/>
                    <a:pt x="103" y="1304"/>
                  </a:cubicBezTo>
                  <a:cubicBezTo>
                    <a:pt x="86" y="1331"/>
                    <a:pt x="86" y="1331"/>
                    <a:pt x="86" y="1331"/>
                  </a:cubicBezTo>
                  <a:cubicBezTo>
                    <a:pt x="33" y="1356"/>
                    <a:pt x="33" y="1356"/>
                    <a:pt x="33" y="1356"/>
                  </a:cubicBezTo>
                  <a:cubicBezTo>
                    <a:pt x="16" y="1385"/>
                    <a:pt x="16" y="1385"/>
                    <a:pt x="16" y="1385"/>
                  </a:cubicBezTo>
                  <a:cubicBezTo>
                    <a:pt x="0" y="1430"/>
                    <a:pt x="0" y="1430"/>
                    <a:pt x="0" y="1430"/>
                  </a:cubicBezTo>
                  <a:cubicBezTo>
                    <a:pt x="958" y="2016"/>
                    <a:pt x="958" y="2016"/>
                    <a:pt x="958" y="2016"/>
                  </a:cubicBezTo>
                  <a:cubicBezTo>
                    <a:pt x="1262" y="2070"/>
                    <a:pt x="1262" y="2070"/>
                    <a:pt x="1262" y="2070"/>
                  </a:cubicBezTo>
                  <a:cubicBezTo>
                    <a:pt x="1512" y="2106"/>
                    <a:pt x="1512" y="2106"/>
                    <a:pt x="1512" y="2106"/>
                  </a:cubicBezTo>
                  <a:cubicBezTo>
                    <a:pt x="1516" y="2108"/>
                    <a:pt x="1516" y="2108"/>
                    <a:pt x="1516" y="2108"/>
                  </a:cubicBezTo>
                  <a:cubicBezTo>
                    <a:pt x="1792" y="230"/>
                    <a:pt x="1792" y="230"/>
                    <a:pt x="1792" y="230"/>
                  </a:cubicBezTo>
                  <a:lnTo>
                    <a:pt x="502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FC9CB129-4585-EAFD-4D1A-550282694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7556" y="5845810"/>
              <a:ext cx="1508663" cy="2604383"/>
            </a:xfrm>
            <a:custGeom>
              <a:avLst/>
              <a:gdLst>
                <a:gd name="T0" fmla="*/ 329 w 369"/>
                <a:gd name="T1" fmla="*/ 620 h 637"/>
                <a:gd name="T2" fmla="*/ 331 w 369"/>
                <a:gd name="T3" fmla="*/ 601 h 637"/>
                <a:gd name="T4" fmla="*/ 343 w 369"/>
                <a:gd name="T5" fmla="*/ 586 h 637"/>
                <a:gd name="T6" fmla="*/ 365 w 369"/>
                <a:gd name="T7" fmla="*/ 556 h 637"/>
                <a:gd name="T8" fmla="*/ 360 w 369"/>
                <a:gd name="T9" fmla="*/ 542 h 637"/>
                <a:gd name="T10" fmla="*/ 354 w 369"/>
                <a:gd name="T11" fmla="*/ 513 h 637"/>
                <a:gd name="T12" fmla="*/ 170 w 369"/>
                <a:gd name="T13" fmla="*/ 226 h 637"/>
                <a:gd name="T14" fmla="*/ 164 w 369"/>
                <a:gd name="T15" fmla="*/ 219 h 637"/>
                <a:gd name="T16" fmla="*/ 168 w 369"/>
                <a:gd name="T17" fmla="*/ 209 h 637"/>
                <a:gd name="T18" fmla="*/ 38 w 369"/>
                <a:gd name="T19" fmla="*/ 0 h 637"/>
                <a:gd name="T20" fmla="*/ 34 w 369"/>
                <a:gd name="T21" fmla="*/ 13 h 637"/>
                <a:gd name="T22" fmla="*/ 33 w 369"/>
                <a:gd name="T23" fmla="*/ 36 h 637"/>
                <a:gd name="T24" fmla="*/ 25 w 369"/>
                <a:gd name="T25" fmla="*/ 50 h 637"/>
                <a:gd name="T26" fmla="*/ 11 w 369"/>
                <a:gd name="T27" fmla="*/ 73 h 637"/>
                <a:gd name="T28" fmla="*/ 1 w 369"/>
                <a:gd name="T29" fmla="*/ 90 h 637"/>
                <a:gd name="T30" fmla="*/ 6 w 369"/>
                <a:gd name="T31" fmla="*/ 107 h 637"/>
                <a:gd name="T32" fmla="*/ 14 w 369"/>
                <a:gd name="T33" fmla="*/ 129 h 637"/>
                <a:gd name="T34" fmla="*/ 8 w 369"/>
                <a:gd name="T35" fmla="*/ 157 h 637"/>
                <a:gd name="T36" fmla="*/ 5 w 369"/>
                <a:gd name="T37" fmla="*/ 175 h 637"/>
                <a:gd name="T38" fmla="*/ 17 w 369"/>
                <a:gd name="T39" fmla="*/ 208 h 637"/>
                <a:gd name="T40" fmla="*/ 25 w 369"/>
                <a:gd name="T41" fmla="*/ 230 h 637"/>
                <a:gd name="T42" fmla="*/ 21 w 369"/>
                <a:gd name="T43" fmla="*/ 242 h 637"/>
                <a:gd name="T44" fmla="*/ 34 w 369"/>
                <a:gd name="T45" fmla="*/ 252 h 637"/>
                <a:gd name="T46" fmla="*/ 42 w 369"/>
                <a:gd name="T47" fmla="*/ 250 h 637"/>
                <a:gd name="T48" fmla="*/ 54 w 369"/>
                <a:gd name="T49" fmla="*/ 247 h 637"/>
                <a:gd name="T50" fmla="*/ 74 w 369"/>
                <a:gd name="T51" fmla="*/ 254 h 637"/>
                <a:gd name="T52" fmla="*/ 71 w 369"/>
                <a:gd name="T53" fmla="*/ 257 h 637"/>
                <a:gd name="T54" fmla="*/ 58 w 369"/>
                <a:gd name="T55" fmla="*/ 252 h 637"/>
                <a:gd name="T56" fmla="*/ 48 w 369"/>
                <a:gd name="T57" fmla="*/ 251 h 637"/>
                <a:gd name="T58" fmla="*/ 51 w 369"/>
                <a:gd name="T59" fmla="*/ 267 h 637"/>
                <a:gd name="T60" fmla="*/ 45 w 369"/>
                <a:gd name="T61" fmla="*/ 275 h 637"/>
                <a:gd name="T62" fmla="*/ 42 w 369"/>
                <a:gd name="T63" fmla="*/ 265 h 637"/>
                <a:gd name="T64" fmla="*/ 36 w 369"/>
                <a:gd name="T65" fmla="*/ 267 h 637"/>
                <a:gd name="T66" fmla="*/ 33 w 369"/>
                <a:gd name="T67" fmla="*/ 292 h 637"/>
                <a:gd name="T68" fmla="*/ 44 w 369"/>
                <a:gd name="T69" fmla="*/ 311 h 637"/>
                <a:gd name="T70" fmla="*/ 52 w 369"/>
                <a:gd name="T71" fmla="*/ 328 h 637"/>
                <a:gd name="T72" fmla="*/ 41 w 369"/>
                <a:gd name="T73" fmla="*/ 335 h 637"/>
                <a:gd name="T74" fmla="*/ 49 w 369"/>
                <a:gd name="T75" fmla="*/ 366 h 637"/>
                <a:gd name="T76" fmla="*/ 61 w 369"/>
                <a:gd name="T77" fmla="*/ 394 h 637"/>
                <a:gd name="T78" fmla="*/ 72 w 369"/>
                <a:gd name="T79" fmla="*/ 412 h 637"/>
                <a:gd name="T80" fmla="*/ 72 w 369"/>
                <a:gd name="T81" fmla="*/ 426 h 637"/>
                <a:gd name="T82" fmla="*/ 77 w 369"/>
                <a:gd name="T83" fmla="*/ 440 h 637"/>
                <a:gd name="T84" fmla="*/ 72 w 369"/>
                <a:gd name="T85" fmla="*/ 468 h 637"/>
                <a:gd name="T86" fmla="*/ 107 w 369"/>
                <a:gd name="T87" fmla="*/ 486 h 637"/>
                <a:gd name="T88" fmla="*/ 132 w 369"/>
                <a:gd name="T89" fmla="*/ 507 h 637"/>
                <a:gd name="T90" fmla="*/ 162 w 369"/>
                <a:gd name="T91" fmla="*/ 535 h 637"/>
                <a:gd name="T92" fmla="*/ 184 w 369"/>
                <a:gd name="T93" fmla="*/ 555 h 637"/>
                <a:gd name="T94" fmla="*/ 205 w 369"/>
                <a:gd name="T95" fmla="*/ 592 h 637"/>
                <a:gd name="T96" fmla="*/ 205 w 369"/>
                <a:gd name="T97" fmla="*/ 621 h 637"/>
                <a:gd name="T98" fmla="*/ 324 w 369"/>
                <a:gd name="T99" fmla="*/ 636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9" h="637">
                  <a:moveTo>
                    <a:pt x="334" y="631"/>
                  </a:moveTo>
                  <a:lnTo>
                    <a:pt x="337" y="627"/>
                  </a:lnTo>
                  <a:lnTo>
                    <a:pt x="329" y="620"/>
                  </a:lnTo>
                  <a:lnTo>
                    <a:pt x="331" y="614"/>
                  </a:lnTo>
                  <a:lnTo>
                    <a:pt x="329" y="606"/>
                  </a:lnTo>
                  <a:lnTo>
                    <a:pt x="331" y="601"/>
                  </a:lnTo>
                  <a:lnTo>
                    <a:pt x="335" y="599"/>
                  </a:lnTo>
                  <a:lnTo>
                    <a:pt x="338" y="595"/>
                  </a:lnTo>
                  <a:lnTo>
                    <a:pt x="343" y="586"/>
                  </a:lnTo>
                  <a:lnTo>
                    <a:pt x="347" y="570"/>
                  </a:lnTo>
                  <a:lnTo>
                    <a:pt x="359" y="560"/>
                  </a:lnTo>
                  <a:lnTo>
                    <a:pt x="365" y="556"/>
                  </a:lnTo>
                  <a:lnTo>
                    <a:pt x="369" y="553"/>
                  </a:lnTo>
                  <a:lnTo>
                    <a:pt x="363" y="546"/>
                  </a:lnTo>
                  <a:lnTo>
                    <a:pt x="360" y="542"/>
                  </a:lnTo>
                  <a:lnTo>
                    <a:pt x="359" y="532"/>
                  </a:lnTo>
                  <a:lnTo>
                    <a:pt x="355" y="520"/>
                  </a:lnTo>
                  <a:lnTo>
                    <a:pt x="354" y="513"/>
                  </a:lnTo>
                  <a:lnTo>
                    <a:pt x="356" y="506"/>
                  </a:lnTo>
                  <a:lnTo>
                    <a:pt x="356" y="506"/>
                  </a:lnTo>
                  <a:lnTo>
                    <a:pt x="170" y="226"/>
                  </a:lnTo>
                  <a:lnTo>
                    <a:pt x="166" y="224"/>
                  </a:lnTo>
                  <a:lnTo>
                    <a:pt x="164" y="223"/>
                  </a:lnTo>
                  <a:lnTo>
                    <a:pt x="164" y="219"/>
                  </a:lnTo>
                  <a:lnTo>
                    <a:pt x="162" y="215"/>
                  </a:lnTo>
                  <a:lnTo>
                    <a:pt x="163" y="211"/>
                  </a:lnTo>
                  <a:lnTo>
                    <a:pt x="168" y="209"/>
                  </a:lnTo>
                  <a:lnTo>
                    <a:pt x="172" y="208"/>
                  </a:lnTo>
                  <a:lnTo>
                    <a:pt x="213" y="51"/>
                  </a:lnTo>
                  <a:lnTo>
                    <a:pt x="38" y="0"/>
                  </a:lnTo>
                  <a:lnTo>
                    <a:pt x="37" y="5"/>
                  </a:lnTo>
                  <a:lnTo>
                    <a:pt x="34" y="8"/>
                  </a:lnTo>
                  <a:lnTo>
                    <a:pt x="34" y="13"/>
                  </a:lnTo>
                  <a:lnTo>
                    <a:pt x="34" y="18"/>
                  </a:lnTo>
                  <a:lnTo>
                    <a:pt x="34" y="30"/>
                  </a:lnTo>
                  <a:lnTo>
                    <a:pt x="33" y="36"/>
                  </a:lnTo>
                  <a:lnTo>
                    <a:pt x="29" y="43"/>
                  </a:lnTo>
                  <a:lnTo>
                    <a:pt x="25" y="47"/>
                  </a:lnTo>
                  <a:lnTo>
                    <a:pt x="25" y="50"/>
                  </a:lnTo>
                  <a:lnTo>
                    <a:pt x="25" y="58"/>
                  </a:lnTo>
                  <a:lnTo>
                    <a:pt x="20" y="65"/>
                  </a:lnTo>
                  <a:lnTo>
                    <a:pt x="11" y="73"/>
                  </a:lnTo>
                  <a:lnTo>
                    <a:pt x="4" y="79"/>
                  </a:lnTo>
                  <a:lnTo>
                    <a:pt x="2" y="82"/>
                  </a:lnTo>
                  <a:lnTo>
                    <a:pt x="1" y="90"/>
                  </a:lnTo>
                  <a:lnTo>
                    <a:pt x="0" y="96"/>
                  </a:lnTo>
                  <a:lnTo>
                    <a:pt x="2" y="101"/>
                  </a:lnTo>
                  <a:lnTo>
                    <a:pt x="6" y="107"/>
                  </a:lnTo>
                  <a:lnTo>
                    <a:pt x="10" y="116"/>
                  </a:lnTo>
                  <a:lnTo>
                    <a:pt x="13" y="123"/>
                  </a:lnTo>
                  <a:lnTo>
                    <a:pt x="14" y="129"/>
                  </a:lnTo>
                  <a:lnTo>
                    <a:pt x="14" y="140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8" y="168"/>
                  </a:lnTo>
                  <a:lnTo>
                    <a:pt x="7" y="172"/>
                  </a:lnTo>
                  <a:lnTo>
                    <a:pt x="5" y="175"/>
                  </a:lnTo>
                  <a:lnTo>
                    <a:pt x="6" y="181"/>
                  </a:lnTo>
                  <a:lnTo>
                    <a:pt x="10" y="191"/>
                  </a:lnTo>
                  <a:lnTo>
                    <a:pt x="17" y="208"/>
                  </a:lnTo>
                  <a:lnTo>
                    <a:pt x="22" y="219"/>
                  </a:lnTo>
                  <a:lnTo>
                    <a:pt x="25" y="224"/>
                  </a:lnTo>
                  <a:lnTo>
                    <a:pt x="25" y="230"/>
                  </a:lnTo>
                  <a:lnTo>
                    <a:pt x="24" y="235"/>
                  </a:lnTo>
                  <a:lnTo>
                    <a:pt x="21" y="238"/>
                  </a:lnTo>
                  <a:lnTo>
                    <a:pt x="21" y="242"/>
                  </a:lnTo>
                  <a:lnTo>
                    <a:pt x="26" y="242"/>
                  </a:lnTo>
                  <a:lnTo>
                    <a:pt x="29" y="246"/>
                  </a:lnTo>
                  <a:lnTo>
                    <a:pt x="34" y="252"/>
                  </a:lnTo>
                  <a:lnTo>
                    <a:pt x="36" y="256"/>
                  </a:lnTo>
                  <a:lnTo>
                    <a:pt x="39" y="256"/>
                  </a:lnTo>
                  <a:lnTo>
                    <a:pt x="42" y="250"/>
                  </a:lnTo>
                  <a:lnTo>
                    <a:pt x="42" y="243"/>
                  </a:lnTo>
                  <a:lnTo>
                    <a:pt x="50" y="243"/>
                  </a:lnTo>
                  <a:lnTo>
                    <a:pt x="54" y="247"/>
                  </a:lnTo>
                  <a:lnTo>
                    <a:pt x="64" y="247"/>
                  </a:lnTo>
                  <a:lnTo>
                    <a:pt x="69" y="252"/>
                  </a:lnTo>
                  <a:lnTo>
                    <a:pt x="74" y="254"/>
                  </a:lnTo>
                  <a:lnTo>
                    <a:pt x="77" y="255"/>
                  </a:lnTo>
                  <a:lnTo>
                    <a:pt x="75" y="258"/>
                  </a:lnTo>
                  <a:lnTo>
                    <a:pt x="71" y="257"/>
                  </a:lnTo>
                  <a:lnTo>
                    <a:pt x="67" y="254"/>
                  </a:lnTo>
                  <a:lnTo>
                    <a:pt x="64" y="253"/>
                  </a:lnTo>
                  <a:lnTo>
                    <a:pt x="58" y="252"/>
                  </a:lnTo>
                  <a:lnTo>
                    <a:pt x="55" y="251"/>
                  </a:lnTo>
                  <a:lnTo>
                    <a:pt x="51" y="250"/>
                  </a:lnTo>
                  <a:lnTo>
                    <a:pt x="48" y="251"/>
                  </a:lnTo>
                  <a:lnTo>
                    <a:pt x="48" y="254"/>
                  </a:lnTo>
                  <a:lnTo>
                    <a:pt x="49" y="263"/>
                  </a:lnTo>
                  <a:lnTo>
                    <a:pt x="51" y="267"/>
                  </a:lnTo>
                  <a:lnTo>
                    <a:pt x="50" y="277"/>
                  </a:lnTo>
                  <a:lnTo>
                    <a:pt x="49" y="277"/>
                  </a:lnTo>
                  <a:lnTo>
                    <a:pt x="45" y="275"/>
                  </a:lnTo>
                  <a:lnTo>
                    <a:pt x="43" y="272"/>
                  </a:lnTo>
                  <a:lnTo>
                    <a:pt x="42" y="267"/>
                  </a:lnTo>
                  <a:lnTo>
                    <a:pt x="42" y="265"/>
                  </a:lnTo>
                  <a:lnTo>
                    <a:pt x="41" y="264"/>
                  </a:lnTo>
                  <a:lnTo>
                    <a:pt x="37" y="263"/>
                  </a:lnTo>
                  <a:lnTo>
                    <a:pt x="36" y="267"/>
                  </a:lnTo>
                  <a:lnTo>
                    <a:pt x="35" y="271"/>
                  </a:lnTo>
                  <a:lnTo>
                    <a:pt x="34" y="280"/>
                  </a:lnTo>
                  <a:lnTo>
                    <a:pt x="33" y="292"/>
                  </a:lnTo>
                  <a:lnTo>
                    <a:pt x="34" y="299"/>
                  </a:lnTo>
                  <a:lnTo>
                    <a:pt x="39" y="306"/>
                  </a:lnTo>
                  <a:lnTo>
                    <a:pt x="44" y="311"/>
                  </a:lnTo>
                  <a:lnTo>
                    <a:pt x="50" y="315"/>
                  </a:lnTo>
                  <a:lnTo>
                    <a:pt x="52" y="322"/>
                  </a:lnTo>
                  <a:lnTo>
                    <a:pt x="52" y="328"/>
                  </a:lnTo>
                  <a:lnTo>
                    <a:pt x="50" y="333"/>
                  </a:lnTo>
                  <a:lnTo>
                    <a:pt x="46" y="335"/>
                  </a:lnTo>
                  <a:lnTo>
                    <a:pt x="41" y="335"/>
                  </a:lnTo>
                  <a:lnTo>
                    <a:pt x="41" y="349"/>
                  </a:lnTo>
                  <a:lnTo>
                    <a:pt x="42" y="354"/>
                  </a:lnTo>
                  <a:lnTo>
                    <a:pt x="49" y="366"/>
                  </a:lnTo>
                  <a:lnTo>
                    <a:pt x="52" y="374"/>
                  </a:lnTo>
                  <a:lnTo>
                    <a:pt x="58" y="384"/>
                  </a:lnTo>
                  <a:lnTo>
                    <a:pt x="61" y="394"/>
                  </a:lnTo>
                  <a:lnTo>
                    <a:pt x="65" y="401"/>
                  </a:lnTo>
                  <a:lnTo>
                    <a:pt x="70" y="411"/>
                  </a:lnTo>
                  <a:lnTo>
                    <a:pt x="72" y="412"/>
                  </a:lnTo>
                  <a:lnTo>
                    <a:pt x="72" y="419"/>
                  </a:lnTo>
                  <a:lnTo>
                    <a:pt x="73" y="424"/>
                  </a:lnTo>
                  <a:lnTo>
                    <a:pt x="72" y="426"/>
                  </a:lnTo>
                  <a:lnTo>
                    <a:pt x="75" y="430"/>
                  </a:lnTo>
                  <a:lnTo>
                    <a:pt x="77" y="433"/>
                  </a:lnTo>
                  <a:lnTo>
                    <a:pt x="77" y="440"/>
                  </a:lnTo>
                  <a:lnTo>
                    <a:pt x="75" y="453"/>
                  </a:lnTo>
                  <a:lnTo>
                    <a:pt x="73" y="461"/>
                  </a:lnTo>
                  <a:lnTo>
                    <a:pt x="72" y="468"/>
                  </a:lnTo>
                  <a:lnTo>
                    <a:pt x="85" y="475"/>
                  </a:lnTo>
                  <a:lnTo>
                    <a:pt x="98" y="479"/>
                  </a:lnTo>
                  <a:lnTo>
                    <a:pt x="107" y="486"/>
                  </a:lnTo>
                  <a:lnTo>
                    <a:pt x="118" y="489"/>
                  </a:lnTo>
                  <a:lnTo>
                    <a:pt x="123" y="494"/>
                  </a:lnTo>
                  <a:lnTo>
                    <a:pt x="132" y="507"/>
                  </a:lnTo>
                  <a:lnTo>
                    <a:pt x="143" y="518"/>
                  </a:lnTo>
                  <a:lnTo>
                    <a:pt x="161" y="522"/>
                  </a:lnTo>
                  <a:lnTo>
                    <a:pt x="162" y="535"/>
                  </a:lnTo>
                  <a:lnTo>
                    <a:pt x="164" y="541"/>
                  </a:lnTo>
                  <a:lnTo>
                    <a:pt x="174" y="543"/>
                  </a:lnTo>
                  <a:lnTo>
                    <a:pt x="184" y="555"/>
                  </a:lnTo>
                  <a:lnTo>
                    <a:pt x="196" y="572"/>
                  </a:lnTo>
                  <a:lnTo>
                    <a:pt x="201" y="580"/>
                  </a:lnTo>
                  <a:lnTo>
                    <a:pt x="205" y="592"/>
                  </a:lnTo>
                  <a:lnTo>
                    <a:pt x="202" y="604"/>
                  </a:lnTo>
                  <a:lnTo>
                    <a:pt x="202" y="610"/>
                  </a:lnTo>
                  <a:lnTo>
                    <a:pt x="205" y="621"/>
                  </a:lnTo>
                  <a:lnTo>
                    <a:pt x="211" y="623"/>
                  </a:lnTo>
                  <a:lnTo>
                    <a:pt x="323" y="637"/>
                  </a:lnTo>
                  <a:lnTo>
                    <a:pt x="324" y="636"/>
                  </a:lnTo>
                  <a:lnTo>
                    <a:pt x="334" y="631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8BAC7356-44C0-3294-508B-CB1442552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3574" y="7771499"/>
              <a:ext cx="1647673" cy="883119"/>
            </a:xfrm>
            <a:custGeom>
              <a:avLst/>
              <a:gdLst>
                <a:gd name="T0" fmla="*/ 2 w 2305"/>
                <a:gd name="T1" fmla="*/ 174 h 1239"/>
                <a:gd name="T2" fmla="*/ 0 w 2305"/>
                <a:gd name="T3" fmla="*/ 199 h 1239"/>
                <a:gd name="T4" fmla="*/ 2 w 2305"/>
                <a:gd name="T5" fmla="*/ 175 h 1239"/>
                <a:gd name="T6" fmla="*/ 817 w 2305"/>
                <a:gd name="T7" fmla="*/ 225 h 1239"/>
                <a:gd name="T8" fmla="*/ 786 w 2305"/>
                <a:gd name="T9" fmla="*/ 858 h 1239"/>
                <a:gd name="T10" fmla="*/ 844 w 2305"/>
                <a:gd name="T11" fmla="*/ 909 h 1239"/>
                <a:gd name="T12" fmla="*/ 865 w 2305"/>
                <a:gd name="T13" fmla="*/ 932 h 1239"/>
                <a:gd name="T14" fmla="*/ 882 w 2305"/>
                <a:gd name="T15" fmla="*/ 930 h 1239"/>
                <a:gd name="T16" fmla="*/ 912 w 2305"/>
                <a:gd name="T17" fmla="*/ 927 h 1239"/>
                <a:gd name="T18" fmla="*/ 930 w 2305"/>
                <a:gd name="T19" fmla="*/ 932 h 1239"/>
                <a:gd name="T20" fmla="*/ 952 w 2305"/>
                <a:gd name="T21" fmla="*/ 924 h 1239"/>
                <a:gd name="T22" fmla="*/ 983 w 2305"/>
                <a:gd name="T23" fmla="*/ 942 h 1239"/>
                <a:gd name="T24" fmla="*/ 999 w 2305"/>
                <a:gd name="T25" fmla="*/ 1001 h 1239"/>
                <a:gd name="T26" fmla="*/ 1063 w 2305"/>
                <a:gd name="T27" fmla="*/ 1003 h 1239"/>
                <a:gd name="T28" fmla="*/ 1110 w 2305"/>
                <a:gd name="T29" fmla="*/ 1029 h 1239"/>
                <a:gd name="T30" fmla="*/ 1150 w 2305"/>
                <a:gd name="T31" fmla="*/ 1025 h 1239"/>
                <a:gd name="T32" fmla="*/ 1160 w 2305"/>
                <a:gd name="T33" fmla="*/ 1022 h 1239"/>
                <a:gd name="T34" fmla="*/ 1184 w 2305"/>
                <a:gd name="T35" fmla="*/ 1047 h 1239"/>
                <a:gd name="T36" fmla="*/ 1215 w 2305"/>
                <a:gd name="T37" fmla="*/ 1029 h 1239"/>
                <a:gd name="T38" fmla="*/ 1279 w 2305"/>
                <a:gd name="T39" fmla="*/ 1035 h 1239"/>
                <a:gd name="T40" fmla="*/ 1305 w 2305"/>
                <a:gd name="T41" fmla="*/ 1084 h 1239"/>
                <a:gd name="T42" fmla="*/ 1325 w 2305"/>
                <a:gd name="T43" fmla="*/ 1085 h 1239"/>
                <a:gd name="T44" fmla="*/ 1336 w 2305"/>
                <a:gd name="T45" fmla="*/ 1127 h 1239"/>
                <a:gd name="T46" fmla="*/ 1362 w 2305"/>
                <a:gd name="T47" fmla="*/ 1131 h 1239"/>
                <a:gd name="T48" fmla="*/ 1387 w 2305"/>
                <a:gd name="T49" fmla="*/ 1111 h 1239"/>
                <a:gd name="T50" fmla="*/ 1404 w 2305"/>
                <a:gd name="T51" fmla="*/ 1088 h 1239"/>
                <a:gd name="T52" fmla="*/ 1416 w 2305"/>
                <a:gd name="T53" fmla="*/ 1088 h 1239"/>
                <a:gd name="T54" fmla="*/ 1464 w 2305"/>
                <a:gd name="T55" fmla="*/ 1124 h 1239"/>
                <a:gd name="T56" fmla="*/ 1478 w 2305"/>
                <a:gd name="T57" fmla="*/ 1156 h 1239"/>
                <a:gd name="T58" fmla="*/ 1527 w 2305"/>
                <a:gd name="T59" fmla="*/ 1125 h 1239"/>
                <a:gd name="T60" fmla="*/ 1538 w 2305"/>
                <a:gd name="T61" fmla="*/ 1137 h 1239"/>
                <a:gd name="T62" fmla="*/ 1549 w 2305"/>
                <a:gd name="T63" fmla="*/ 1179 h 1239"/>
                <a:gd name="T64" fmla="*/ 1561 w 2305"/>
                <a:gd name="T65" fmla="*/ 1173 h 1239"/>
                <a:gd name="T66" fmla="*/ 1582 w 2305"/>
                <a:gd name="T67" fmla="*/ 1139 h 1239"/>
                <a:gd name="T68" fmla="*/ 1619 w 2305"/>
                <a:gd name="T69" fmla="*/ 1133 h 1239"/>
                <a:gd name="T70" fmla="*/ 1659 w 2305"/>
                <a:gd name="T71" fmla="*/ 1152 h 1239"/>
                <a:gd name="T72" fmla="*/ 1719 w 2305"/>
                <a:gd name="T73" fmla="*/ 1149 h 1239"/>
                <a:gd name="T74" fmla="*/ 1746 w 2305"/>
                <a:gd name="T75" fmla="*/ 1174 h 1239"/>
                <a:gd name="T76" fmla="*/ 1762 w 2305"/>
                <a:gd name="T77" fmla="*/ 1195 h 1239"/>
                <a:gd name="T78" fmla="*/ 1797 w 2305"/>
                <a:gd name="T79" fmla="*/ 1186 h 1239"/>
                <a:gd name="T80" fmla="*/ 1833 w 2305"/>
                <a:gd name="T81" fmla="*/ 1159 h 1239"/>
                <a:gd name="T82" fmla="*/ 1854 w 2305"/>
                <a:gd name="T83" fmla="*/ 1142 h 1239"/>
                <a:gd name="T84" fmla="*/ 1881 w 2305"/>
                <a:gd name="T85" fmla="*/ 1137 h 1239"/>
                <a:gd name="T86" fmla="*/ 1906 w 2305"/>
                <a:gd name="T87" fmla="*/ 1153 h 1239"/>
                <a:gd name="T88" fmla="*/ 1932 w 2305"/>
                <a:gd name="T89" fmla="*/ 1145 h 1239"/>
                <a:gd name="T90" fmla="*/ 1955 w 2305"/>
                <a:gd name="T91" fmla="*/ 1128 h 1239"/>
                <a:gd name="T92" fmla="*/ 1999 w 2305"/>
                <a:gd name="T93" fmla="*/ 1133 h 1239"/>
                <a:gd name="T94" fmla="*/ 2023 w 2305"/>
                <a:gd name="T95" fmla="*/ 1137 h 1239"/>
                <a:gd name="T96" fmla="*/ 2079 w 2305"/>
                <a:gd name="T97" fmla="*/ 1121 h 1239"/>
                <a:gd name="T98" fmla="*/ 2122 w 2305"/>
                <a:gd name="T99" fmla="*/ 1136 h 1239"/>
                <a:gd name="T100" fmla="*/ 2157 w 2305"/>
                <a:gd name="T101" fmla="*/ 1168 h 1239"/>
                <a:gd name="T102" fmla="*/ 2207 w 2305"/>
                <a:gd name="T103" fmla="*/ 1202 h 1239"/>
                <a:gd name="T104" fmla="*/ 2247 w 2305"/>
                <a:gd name="T105" fmla="*/ 1204 h 1239"/>
                <a:gd name="T106" fmla="*/ 2277 w 2305"/>
                <a:gd name="T107" fmla="*/ 1220 h 1239"/>
                <a:gd name="T108" fmla="*/ 2300 w 2305"/>
                <a:gd name="T109" fmla="*/ 1239 h 1239"/>
                <a:gd name="T110" fmla="*/ 2305 w 2305"/>
                <a:gd name="T111" fmla="*/ 613 h 1239"/>
                <a:gd name="T112" fmla="*/ 2248 w 2305"/>
                <a:gd name="T113" fmla="*/ 258 h 1239"/>
                <a:gd name="T114" fmla="*/ 2248 w 2305"/>
                <a:gd name="T115" fmla="*/ 89 h 1239"/>
                <a:gd name="T116" fmla="*/ 1216 w 2305"/>
                <a:gd name="T117" fmla="*/ 62 h 1239"/>
                <a:gd name="T118" fmla="*/ 31 w 2305"/>
                <a:gd name="T119" fmla="*/ 0 h 1239"/>
                <a:gd name="T120" fmla="*/ 22 w 2305"/>
                <a:gd name="T121" fmla="*/ 174 h 1239"/>
                <a:gd name="T122" fmla="*/ 2 w 2305"/>
                <a:gd name="T123" fmla="*/ 174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5" h="1239">
                  <a:moveTo>
                    <a:pt x="2" y="174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2" y="175"/>
                    <a:pt x="2" y="175"/>
                    <a:pt x="2" y="175"/>
                  </a:cubicBezTo>
                  <a:cubicBezTo>
                    <a:pt x="817" y="225"/>
                    <a:pt x="817" y="225"/>
                    <a:pt x="817" y="225"/>
                  </a:cubicBezTo>
                  <a:cubicBezTo>
                    <a:pt x="786" y="858"/>
                    <a:pt x="786" y="858"/>
                    <a:pt x="786" y="858"/>
                  </a:cubicBezTo>
                  <a:cubicBezTo>
                    <a:pt x="844" y="909"/>
                    <a:pt x="844" y="909"/>
                    <a:pt x="844" y="909"/>
                  </a:cubicBezTo>
                  <a:cubicBezTo>
                    <a:pt x="865" y="932"/>
                    <a:pt x="865" y="932"/>
                    <a:pt x="865" y="932"/>
                  </a:cubicBezTo>
                  <a:cubicBezTo>
                    <a:pt x="882" y="930"/>
                    <a:pt x="882" y="930"/>
                    <a:pt x="882" y="930"/>
                  </a:cubicBezTo>
                  <a:cubicBezTo>
                    <a:pt x="912" y="927"/>
                    <a:pt x="912" y="927"/>
                    <a:pt x="912" y="927"/>
                  </a:cubicBezTo>
                  <a:cubicBezTo>
                    <a:pt x="930" y="932"/>
                    <a:pt x="930" y="932"/>
                    <a:pt x="930" y="932"/>
                  </a:cubicBezTo>
                  <a:cubicBezTo>
                    <a:pt x="952" y="924"/>
                    <a:pt x="952" y="924"/>
                    <a:pt x="952" y="924"/>
                  </a:cubicBezTo>
                  <a:cubicBezTo>
                    <a:pt x="983" y="942"/>
                    <a:pt x="983" y="942"/>
                    <a:pt x="983" y="942"/>
                  </a:cubicBezTo>
                  <a:cubicBezTo>
                    <a:pt x="999" y="1001"/>
                    <a:pt x="999" y="1001"/>
                    <a:pt x="999" y="1001"/>
                  </a:cubicBezTo>
                  <a:cubicBezTo>
                    <a:pt x="1063" y="1003"/>
                    <a:pt x="1063" y="1003"/>
                    <a:pt x="1063" y="1003"/>
                  </a:cubicBezTo>
                  <a:cubicBezTo>
                    <a:pt x="1110" y="1029"/>
                    <a:pt x="1110" y="1029"/>
                    <a:pt x="1110" y="1029"/>
                  </a:cubicBezTo>
                  <a:cubicBezTo>
                    <a:pt x="1150" y="1025"/>
                    <a:pt x="1150" y="1025"/>
                    <a:pt x="1150" y="1025"/>
                  </a:cubicBezTo>
                  <a:cubicBezTo>
                    <a:pt x="1160" y="1022"/>
                    <a:pt x="1160" y="1022"/>
                    <a:pt x="1160" y="1022"/>
                  </a:cubicBezTo>
                  <a:cubicBezTo>
                    <a:pt x="1184" y="1047"/>
                    <a:pt x="1184" y="1047"/>
                    <a:pt x="1184" y="1047"/>
                  </a:cubicBezTo>
                  <a:cubicBezTo>
                    <a:pt x="1215" y="1029"/>
                    <a:pt x="1215" y="1029"/>
                    <a:pt x="1215" y="1029"/>
                  </a:cubicBezTo>
                  <a:cubicBezTo>
                    <a:pt x="1279" y="1035"/>
                    <a:pt x="1279" y="1035"/>
                    <a:pt x="1279" y="1035"/>
                  </a:cubicBezTo>
                  <a:cubicBezTo>
                    <a:pt x="1305" y="1084"/>
                    <a:pt x="1305" y="1084"/>
                    <a:pt x="1305" y="1084"/>
                  </a:cubicBezTo>
                  <a:cubicBezTo>
                    <a:pt x="1325" y="1085"/>
                    <a:pt x="1325" y="1085"/>
                    <a:pt x="1325" y="1085"/>
                  </a:cubicBezTo>
                  <a:cubicBezTo>
                    <a:pt x="1336" y="1127"/>
                    <a:pt x="1336" y="1127"/>
                    <a:pt x="1336" y="1127"/>
                  </a:cubicBezTo>
                  <a:cubicBezTo>
                    <a:pt x="1362" y="1131"/>
                    <a:pt x="1362" y="1131"/>
                    <a:pt x="1362" y="1131"/>
                  </a:cubicBezTo>
                  <a:cubicBezTo>
                    <a:pt x="1387" y="1111"/>
                    <a:pt x="1387" y="1111"/>
                    <a:pt x="1387" y="1111"/>
                  </a:cubicBezTo>
                  <a:cubicBezTo>
                    <a:pt x="1404" y="1088"/>
                    <a:pt x="1404" y="1088"/>
                    <a:pt x="1404" y="1088"/>
                  </a:cubicBezTo>
                  <a:cubicBezTo>
                    <a:pt x="1416" y="1088"/>
                    <a:pt x="1416" y="1088"/>
                    <a:pt x="1416" y="1088"/>
                  </a:cubicBezTo>
                  <a:cubicBezTo>
                    <a:pt x="1464" y="1124"/>
                    <a:pt x="1464" y="1124"/>
                    <a:pt x="1464" y="1124"/>
                  </a:cubicBezTo>
                  <a:cubicBezTo>
                    <a:pt x="1478" y="1156"/>
                    <a:pt x="1478" y="1156"/>
                    <a:pt x="1478" y="1156"/>
                  </a:cubicBezTo>
                  <a:cubicBezTo>
                    <a:pt x="1527" y="1125"/>
                    <a:pt x="1527" y="1125"/>
                    <a:pt x="1527" y="1125"/>
                  </a:cubicBezTo>
                  <a:cubicBezTo>
                    <a:pt x="1538" y="1137"/>
                    <a:pt x="1538" y="1137"/>
                    <a:pt x="1538" y="1137"/>
                  </a:cubicBezTo>
                  <a:cubicBezTo>
                    <a:pt x="1549" y="1179"/>
                    <a:pt x="1549" y="1179"/>
                    <a:pt x="1549" y="1179"/>
                  </a:cubicBezTo>
                  <a:cubicBezTo>
                    <a:pt x="1561" y="1173"/>
                    <a:pt x="1561" y="1173"/>
                    <a:pt x="1561" y="1173"/>
                  </a:cubicBezTo>
                  <a:cubicBezTo>
                    <a:pt x="1582" y="1139"/>
                    <a:pt x="1582" y="1139"/>
                    <a:pt x="1582" y="1139"/>
                  </a:cubicBezTo>
                  <a:cubicBezTo>
                    <a:pt x="1619" y="1133"/>
                    <a:pt x="1619" y="1133"/>
                    <a:pt x="1619" y="1133"/>
                  </a:cubicBezTo>
                  <a:cubicBezTo>
                    <a:pt x="1659" y="1152"/>
                    <a:pt x="1659" y="1152"/>
                    <a:pt x="1659" y="1152"/>
                  </a:cubicBezTo>
                  <a:cubicBezTo>
                    <a:pt x="1719" y="1149"/>
                    <a:pt x="1719" y="1149"/>
                    <a:pt x="1719" y="1149"/>
                  </a:cubicBezTo>
                  <a:cubicBezTo>
                    <a:pt x="1746" y="1174"/>
                    <a:pt x="1746" y="1174"/>
                    <a:pt x="1746" y="1174"/>
                  </a:cubicBezTo>
                  <a:cubicBezTo>
                    <a:pt x="1762" y="1195"/>
                    <a:pt x="1762" y="1195"/>
                    <a:pt x="1762" y="1195"/>
                  </a:cubicBezTo>
                  <a:cubicBezTo>
                    <a:pt x="1797" y="1186"/>
                    <a:pt x="1797" y="1186"/>
                    <a:pt x="1797" y="1186"/>
                  </a:cubicBezTo>
                  <a:cubicBezTo>
                    <a:pt x="1833" y="1159"/>
                    <a:pt x="1833" y="1159"/>
                    <a:pt x="1833" y="1159"/>
                  </a:cubicBezTo>
                  <a:cubicBezTo>
                    <a:pt x="1854" y="1142"/>
                    <a:pt x="1854" y="1142"/>
                    <a:pt x="1854" y="1142"/>
                  </a:cubicBezTo>
                  <a:cubicBezTo>
                    <a:pt x="1881" y="1137"/>
                    <a:pt x="1881" y="1137"/>
                    <a:pt x="1881" y="1137"/>
                  </a:cubicBezTo>
                  <a:cubicBezTo>
                    <a:pt x="1906" y="1153"/>
                    <a:pt x="1906" y="1153"/>
                    <a:pt x="1906" y="1153"/>
                  </a:cubicBezTo>
                  <a:cubicBezTo>
                    <a:pt x="1932" y="1145"/>
                    <a:pt x="1932" y="1145"/>
                    <a:pt x="1932" y="1145"/>
                  </a:cubicBezTo>
                  <a:cubicBezTo>
                    <a:pt x="1955" y="1128"/>
                    <a:pt x="1955" y="1128"/>
                    <a:pt x="1955" y="1128"/>
                  </a:cubicBezTo>
                  <a:cubicBezTo>
                    <a:pt x="1999" y="1133"/>
                    <a:pt x="1999" y="1133"/>
                    <a:pt x="1999" y="1133"/>
                  </a:cubicBezTo>
                  <a:cubicBezTo>
                    <a:pt x="2023" y="1137"/>
                    <a:pt x="2023" y="1137"/>
                    <a:pt x="2023" y="1137"/>
                  </a:cubicBezTo>
                  <a:cubicBezTo>
                    <a:pt x="2079" y="1121"/>
                    <a:pt x="2079" y="1121"/>
                    <a:pt x="2079" y="1121"/>
                  </a:cubicBezTo>
                  <a:cubicBezTo>
                    <a:pt x="2122" y="1136"/>
                    <a:pt x="2122" y="1136"/>
                    <a:pt x="2122" y="1136"/>
                  </a:cubicBezTo>
                  <a:cubicBezTo>
                    <a:pt x="2157" y="1168"/>
                    <a:pt x="2157" y="1168"/>
                    <a:pt x="2157" y="1168"/>
                  </a:cubicBezTo>
                  <a:cubicBezTo>
                    <a:pt x="2207" y="1202"/>
                    <a:pt x="2207" y="1202"/>
                    <a:pt x="2207" y="1202"/>
                  </a:cubicBezTo>
                  <a:cubicBezTo>
                    <a:pt x="2247" y="1204"/>
                    <a:pt x="2247" y="1204"/>
                    <a:pt x="2247" y="1204"/>
                  </a:cubicBezTo>
                  <a:cubicBezTo>
                    <a:pt x="2277" y="1220"/>
                    <a:pt x="2277" y="1220"/>
                    <a:pt x="2277" y="1220"/>
                  </a:cubicBezTo>
                  <a:cubicBezTo>
                    <a:pt x="2300" y="1239"/>
                    <a:pt x="2300" y="1239"/>
                    <a:pt x="2300" y="1239"/>
                  </a:cubicBezTo>
                  <a:cubicBezTo>
                    <a:pt x="2305" y="613"/>
                    <a:pt x="2305" y="613"/>
                    <a:pt x="2305" y="613"/>
                  </a:cubicBezTo>
                  <a:cubicBezTo>
                    <a:pt x="2248" y="258"/>
                    <a:pt x="2248" y="258"/>
                    <a:pt x="2248" y="258"/>
                  </a:cubicBezTo>
                  <a:cubicBezTo>
                    <a:pt x="2248" y="89"/>
                    <a:pt x="2248" y="89"/>
                    <a:pt x="2248" y="89"/>
                  </a:cubicBezTo>
                  <a:cubicBezTo>
                    <a:pt x="2248" y="89"/>
                    <a:pt x="1462" y="72"/>
                    <a:pt x="1216" y="62"/>
                  </a:cubicBezTo>
                  <a:cubicBezTo>
                    <a:pt x="908" y="50"/>
                    <a:pt x="31" y="0"/>
                    <a:pt x="31" y="0"/>
                  </a:cubicBezTo>
                  <a:cubicBezTo>
                    <a:pt x="22" y="174"/>
                    <a:pt x="22" y="174"/>
                    <a:pt x="22" y="174"/>
                  </a:cubicBezTo>
                  <a:lnTo>
                    <a:pt x="2" y="174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8373862A-C31C-2085-C466-2EF89C54F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02087" y="7060098"/>
              <a:ext cx="1398272" cy="772728"/>
            </a:xfrm>
            <a:custGeom>
              <a:avLst/>
              <a:gdLst>
                <a:gd name="T0" fmla="*/ 1955 w 1957"/>
                <a:gd name="T1" fmla="*/ 1083 h 1083"/>
                <a:gd name="T2" fmla="*/ 1957 w 1957"/>
                <a:gd name="T3" fmla="*/ 362 h 1083"/>
                <a:gd name="T4" fmla="*/ 1913 w 1957"/>
                <a:gd name="T5" fmla="*/ 340 h 1083"/>
                <a:gd name="T6" fmla="*/ 1893 w 1957"/>
                <a:gd name="T7" fmla="*/ 325 h 1083"/>
                <a:gd name="T8" fmla="*/ 1879 w 1957"/>
                <a:gd name="T9" fmla="*/ 280 h 1083"/>
                <a:gd name="T10" fmla="*/ 1835 w 1957"/>
                <a:gd name="T11" fmla="*/ 243 h 1083"/>
                <a:gd name="T12" fmla="*/ 1854 w 1957"/>
                <a:gd name="T13" fmla="*/ 205 h 1083"/>
                <a:gd name="T14" fmla="*/ 1879 w 1957"/>
                <a:gd name="T15" fmla="*/ 166 h 1083"/>
                <a:gd name="T16" fmla="*/ 1879 w 1957"/>
                <a:gd name="T17" fmla="*/ 129 h 1083"/>
                <a:gd name="T18" fmla="*/ 1861 w 1957"/>
                <a:gd name="T19" fmla="*/ 129 h 1083"/>
                <a:gd name="T20" fmla="*/ 1803 w 1957"/>
                <a:gd name="T21" fmla="*/ 129 h 1083"/>
                <a:gd name="T22" fmla="*/ 1792 w 1957"/>
                <a:gd name="T23" fmla="*/ 99 h 1083"/>
                <a:gd name="T24" fmla="*/ 1760 w 1957"/>
                <a:gd name="T25" fmla="*/ 59 h 1083"/>
                <a:gd name="T26" fmla="*/ 1142 w 1957"/>
                <a:gd name="T27" fmla="*/ 40 h 1083"/>
                <a:gd name="T28" fmla="*/ 70 w 1957"/>
                <a:gd name="T29" fmla="*/ 0 h 1083"/>
                <a:gd name="T30" fmla="*/ 0 w 1957"/>
                <a:gd name="T31" fmla="*/ 1009 h 1083"/>
                <a:gd name="T32" fmla="*/ 923 w 1957"/>
                <a:gd name="T33" fmla="*/ 1056 h 1083"/>
                <a:gd name="T34" fmla="*/ 1955 w 1957"/>
                <a:gd name="T35" fmla="*/ 1083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57" h="1083">
                  <a:moveTo>
                    <a:pt x="1955" y="1083"/>
                  </a:moveTo>
                  <a:cubicBezTo>
                    <a:pt x="1957" y="362"/>
                    <a:pt x="1957" y="362"/>
                    <a:pt x="1957" y="362"/>
                  </a:cubicBezTo>
                  <a:cubicBezTo>
                    <a:pt x="1913" y="340"/>
                    <a:pt x="1913" y="340"/>
                    <a:pt x="1913" y="340"/>
                  </a:cubicBezTo>
                  <a:cubicBezTo>
                    <a:pt x="1893" y="325"/>
                    <a:pt x="1893" y="325"/>
                    <a:pt x="1893" y="325"/>
                  </a:cubicBezTo>
                  <a:cubicBezTo>
                    <a:pt x="1879" y="280"/>
                    <a:pt x="1879" y="280"/>
                    <a:pt x="1879" y="280"/>
                  </a:cubicBezTo>
                  <a:cubicBezTo>
                    <a:pt x="1835" y="243"/>
                    <a:pt x="1835" y="243"/>
                    <a:pt x="1835" y="243"/>
                  </a:cubicBezTo>
                  <a:cubicBezTo>
                    <a:pt x="1854" y="205"/>
                    <a:pt x="1854" y="205"/>
                    <a:pt x="1854" y="205"/>
                  </a:cubicBezTo>
                  <a:cubicBezTo>
                    <a:pt x="1879" y="166"/>
                    <a:pt x="1879" y="166"/>
                    <a:pt x="1879" y="166"/>
                  </a:cubicBezTo>
                  <a:cubicBezTo>
                    <a:pt x="1879" y="129"/>
                    <a:pt x="1879" y="129"/>
                    <a:pt x="1879" y="129"/>
                  </a:cubicBezTo>
                  <a:cubicBezTo>
                    <a:pt x="1861" y="129"/>
                    <a:pt x="1861" y="129"/>
                    <a:pt x="1861" y="129"/>
                  </a:cubicBezTo>
                  <a:cubicBezTo>
                    <a:pt x="1803" y="129"/>
                    <a:pt x="1803" y="129"/>
                    <a:pt x="1803" y="129"/>
                  </a:cubicBezTo>
                  <a:cubicBezTo>
                    <a:pt x="1792" y="99"/>
                    <a:pt x="1792" y="99"/>
                    <a:pt x="1792" y="99"/>
                  </a:cubicBezTo>
                  <a:cubicBezTo>
                    <a:pt x="1760" y="59"/>
                    <a:pt x="1760" y="59"/>
                    <a:pt x="1760" y="59"/>
                  </a:cubicBezTo>
                  <a:cubicBezTo>
                    <a:pt x="1760" y="59"/>
                    <a:pt x="1297" y="45"/>
                    <a:pt x="1142" y="40"/>
                  </a:cubicBezTo>
                  <a:cubicBezTo>
                    <a:pt x="874" y="30"/>
                    <a:pt x="70" y="0"/>
                    <a:pt x="70" y="0"/>
                  </a:cubicBezTo>
                  <a:cubicBezTo>
                    <a:pt x="0" y="1009"/>
                    <a:pt x="0" y="1009"/>
                    <a:pt x="0" y="1009"/>
                  </a:cubicBezTo>
                  <a:cubicBezTo>
                    <a:pt x="284" y="1025"/>
                    <a:pt x="723" y="1048"/>
                    <a:pt x="923" y="1056"/>
                  </a:cubicBezTo>
                  <a:cubicBezTo>
                    <a:pt x="1169" y="1066"/>
                    <a:pt x="1955" y="1083"/>
                    <a:pt x="1955" y="1083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B4DCFB18-D9E3-B57A-9F13-295449DD8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1803" y="6320078"/>
              <a:ext cx="1549549" cy="784995"/>
            </a:xfrm>
            <a:custGeom>
              <a:avLst/>
              <a:gdLst>
                <a:gd name="T0" fmla="*/ 2166 w 2168"/>
                <a:gd name="T1" fmla="*/ 1095 h 1098"/>
                <a:gd name="T2" fmla="*/ 2168 w 2168"/>
                <a:gd name="T3" fmla="*/ 1098 h 1098"/>
                <a:gd name="T4" fmla="*/ 2168 w 2168"/>
                <a:gd name="T5" fmla="*/ 1098 h 1098"/>
                <a:gd name="T6" fmla="*/ 2155 w 2168"/>
                <a:gd name="T7" fmla="*/ 1068 h 1098"/>
                <a:gd name="T8" fmla="*/ 2145 w 2168"/>
                <a:gd name="T9" fmla="*/ 1029 h 1098"/>
                <a:gd name="T10" fmla="*/ 2107 w 2168"/>
                <a:gd name="T11" fmla="*/ 1012 h 1098"/>
                <a:gd name="T12" fmla="*/ 2102 w 2168"/>
                <a:gd name="T13" fmla="*/ 1007 h 1098"/>
                <a:gd name="T14" fmla="*/ 2094 w 2168"/>
                <a:gd name="T15" fmla="*/ 989 h 1098"/>
                <a:gd name="T16" fmla="*/ 2102 w 2168"/>
                <a:gd name="T17" fmla="*/ 975 h 1098"/>
                <a:gd name="T18" fmla="*/ 2095 w 2168"/>
                <a:gd name="T19" fmla="*/ 938 h 1098"/>
                <a:gd name="T20" fmla="*/ 2077 w 2168"/>
                <a:gd name="T21" fmla="*/ 922 h 1098"/>
                <a:gd name="T22" fmla="*/ 2067 w 2168"/>
                <a:gd name="T23" fmla="*/ 905 h 1098"/>
                <a:gd name="T24" fmla="*/ 2058 w 2168"/>
                <a:gd name="T25" fmla="*/ 858 h 1098"/>
                <a:gd name="T26" fmla="*/ 2058 w 2168"/>
                <a:gd name="T27" fmla="*/ 784 h 1098"/>
                <a:gd name="T28" fmla="*/ 2048 w 2168"/>
                <a:gd name="T29" fmla="*/ 771 h 1098"/>
                <a:gd name="T30" fmla="*/ 2038 w 2168"/>
                <a:gd name="T31" fmla="*/ 747 h 1098"/>
                <a:gd name="T32" fmla="*/ 2042 w 2168"/>
                <a:gd name="T33" fmla="*/ 720 h 1098"/>
                <a:gd name="T34" fmla="*/ 2042 w 2168"/>
                <a:gd name="T35" fmla="*/ 652 h 1098"/>
                <a:gd name="T36" fmla="*/ 2031 w 2168"/>
                <a:gd name="T37" fmla="*/ 607 h 1098"/>
                <a:gd name="T38" fmla="*/ 2013 w 2168"/>
                <a:gd name="T39" fmla="*/ 592 h 1098"/>
                <a:gd name="T40" fmla="*/ 2001 w 2168"/>
                <a:gd name="T41" fmla="*/ 592 h 1098"/>
                <a:gd name="T42" fmla="*/ 1994 w 2168"/>
                <a:gd name="T43" fmla="*/ 574 h 1098"/>
                <a:gd name="T44" fmla="*/ 1987 w 2168"/>
                <a:gd name="T45" fmla="*/ 542 h 1098"/>
                <a:gd name="T46" fmla="*/ 1981 w 2168"/>
                <a:gd name="T47" fmla="*/ 516 h 1098"/>
                <a:gd name="T48" fmla="*/ 2001 w 2168"/>
                <a:gd name="T49" fmla="*/ 511 h 1098"/>
                <a:gd name="T50" fmla="*/ 2001 w 2168"/>
                <a:gd name="T51" fmla="*/ 502 h 1098"/>
                <a:gd name="T52" fmla="*/ 1991 w 2168"/>
                <a:gd name="T53" fmla="*/ 493 h 1098"/>
                <a:gd name="T54" fmla="*/ 1983 w 2168"/>
                <a:gd name="T55" fmla="*/ 473 h 1098"/>
                <a:gd name="T56" fmla="*/ 1974 w 2168"/>
                <a:gd name="T57" fmla="*/ 452 h 1098"/>
                <a:gd name="T58" fmla="*/ 1960 w 2168"/>
                <a:gd name="T59" fmla="*/ 420 h 1098"/>
                <a:gd name="T60" fmla="*/ 1943 w 2168"/>
                <a:gd name="T61" fmla="*/ 380 h 1098"/>
                <a:gd name="T62" fmla="*/ 1924 w 2168"/>
                <a:gd name="T63" fmla="*/ 339 h 1098"/>
                <a:gd name="T64" fmla="*/ 1900 w 2168"/>
                <a:gd name="T65" fmla="*/ 277 h 1098"/>
                <a:gd name="T66" fmla="*/ 1881 w 2168"/>
                <a:gd name="T67" fmla="*/ 251 h 1098"/>
                <a:gd name="T68" fmla="*/ 1877 w 2168"/>
                <a:gd name="T69" fmla="*/ 245 h 1098"/>
                <a:gd name="T70" fmla="*/ 1849 w 2168"/>
                <a:gd name="T71" fmla="*/ 220 h 1098"/>
                <a:gd name="T72" fmla="*/ 1799 w 2168"/>
                <a:gd name="T73" fmla="*/ 188 h 1098"/>
                <a:gd name="T74" fmla="*/ 1765 w 2168"/>
                <a:gd name="T75" fmla="*/ 176 h 1098"/>
                <a:gd name="T76" fmla="*/ 1732 w 2168"/>
                <a:gd name="T77" fmla="*/ 161 h 1098"/>
                <a:gd name="T78" fmla="*/ 1703 w 2168"/>
                <a:gd name="T79" fmla="*/ 133 h 1098"/>
                <a:gd name="T80" fmla="*/ 1652 w 2168"/>
                <a:gd name="T81" fmla="*/ 127 h 1098"/>
                <a:gd name="T82" fmla="*/ 1590 w 2168"/>
                <a:gd name="T83" fmla="*/ 131 h 1098"/>
                <a:gd name="T84" fmla="*/ 1573 w 2168"/>
                <a:gd name="T85" fmla="*/ 131 h 1098"/>
                <a:gd name="T86" fmla="*/ 1549 w 2168"/>
                <a:gd name="T87" fmla="*/ 142 h 1098"/>
                <a:gd name="T88" fmla="*/ 1537 w 2168"/>
                <a:gd name="T89" fmla="*/ 155 h 1098"/>
                <a:gd name="T90" fmla="*/ 1517 w 2168"/>
                <a:gd name="T91" fmla="*/ 148 h 1098"/>
                <a:gd name="T92" fmla="*/ 1493 w 2168"/>
                <a:gd name="T93" fmla="*/ 131 h 1098"/>
                <a:gd name="T94" fmla="*/ 1450 w 2168"/>
                <a:gd name="T95" fmla="*/ 111 h 1098"/>
                <a:gd name="T96" fmla="*/ 1398 w 2168"/>
                <a:gd name="T97" fmla="*/ 85 h 1098"/>
                <a:gd name="T98" fmla="*/ 68 w 2168"/>
                <a:gd name="T99" fmla="*/ 0 h 1098"/>
                <a:gd name="T100" fmla="*/ 0 w 2168"/>
                <a:gd name="T101" fmla="*/ 660 h 1098"/>
                <a:gd name="T102" fmla="*/ 502 w 2168"/>
                <a:gd name="T103" fmla="*/ 708 h 1098"/>
                <a:gd name="T104" fmla="*/ 477 w 2168"/>
                <a:gd name="T105" fmla="*/ 1036 h 1098"/>
                <a:gd name="T106" fmla="*/ 477 w 2168"/>
                <a:gd name="T107" fmla="*/ 1036 h 1098"/>
                <a:gd name="T108" fmla="*/ 1548 w 2168"/>
                <a:gd name="T109" fmla="*/ 1076 h 1098"/>
                <a:gd name="T110" fmla="*/ 2166 w 2168"/>
                <a:gd name="T111" fmla="*/ 1095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68" h="1098">
                  <a:moveTo>
                    <a:pt x="2166" y="1095"/>
                  </a:moveTo>
                  <a:cubicBezTo>
                    <a:pt x="2168" y="1098"/>
                    <a:pt x="2168" y="1098"/>
                    <a:pt x="2168" y="1098"/>
                  </a:cubicBezTo>
                  <a:cubicBezTo>
                    <a:pt x="2168" y="1098"/>
                    <a:pt x="2168" y="1098"/>
                    <a:pt x="2168" y="1098"/>
                  </a:cubicBezTo>
                  <a:cubicBezTo>
                    <a:pt x="2155" y="1068"/>
                    <a:pt x="2155" y="1068"/>
                    <a:pt x="2155" y="1068"/>
                  </a:cubicBezTo>
                  <a:cubicBezTo>
                    <a:pt x="2145" y="1029"/>
                    <a:pt x="2145" y="1029"/>
                    <a:pt x="2145" y="1029"/>
                  </a:cubicBezTo>
                  <a:cubicBezTo>
                    <a:pt x="2145" y="1029"/>
                    <a:pt x="2114" y="1018"/>
                    <a:pt x="2107" y="1012"/>
                  </a:cubicBezTo>
                  <a:cubicBezTo>
                    <a:pt x="2100" y="1006"/>
                    <a:pt x="2102" y="1007"/>
                    <a:pt x="2102" y="1007"/>
                  </a:cubicBezTo>
                  <a:cubicBezTo>
                    <a:pt x="2094" y="989"/>
                    <a:pt x="2094" y="989"/>
                    <a:pt x="2094" y="989"/>
                  </a:cubicBezTo>
                  <a:cubicBezTo>
                    <a:pt x="2102" y="975"/>
                    <a:pt x="2102" y="975"/>
                    <a:pt x="2102" y="975"/>
                  </a:cubicBezTo>
                  <a:cubicBezTo>
                    <a:pt x="2095" y="938"/>
                    <a:pt x="2095" y="938"/>
                    <a:pt x="2095" y="938"/>
                  </a:cubicBezTo>
                  <a:cubicBezTo>
                    <a:pt x="2077" y="922"/>
                    <a:pt x="2077" y="922"/>
                    <a:pt x="2077" y="922"/>
                  </a:cubicBezTo>
                  <a:cubicBezTo>
                    <a:pt x="2067" y="905"/>
                    <a:pt x="2067" y="905"/>
                    <a:pt x="2067" y="905"/>
                  </a:cubicBezTo>
                  <a:cubicBezTo>
                    <a:pt x="2058" y="858"/>
                    <a:pt x="2058" y="858"/>
                    <a:pt x="2058" y="858"/>
                  </a:cubicBezTo>
                  <a:cubicBezTo>
                    <a:pt x="2058" y="784"/>
                    <a:pt x="2058" y="784"/>
                    <a:pt x="2058" y="784"/>
                  </a:cubicBezTo>
                  <a:cubicBezTo>
                    <a:pt x="2048" y="771"/>
                    <a:pt x="2048" y="771"/>
                    <a:pt x="2048" y="771"/>
                  </a:cubicBezTo>
                  <a:cubicBezTo>
                    <a:pt x="2038" y="747"/>
                    <a:pt x="2038" y="747"/>
                    <a:pt x="2038" y="747"/>
                  </a:cubicBezTo>
                  <a:cubicBezTo>
                    <a:pt x="2042" y="720"/>
                    <a:pt x="2042" y="720"/>
                    <a:pt x="2042" y="720"/>
                  </a:cubicBezTo>
                  <a:cubicBezTo>
                    <a:pt x="2042" y="652"/>
                    <a:pt x="2042" y="652"/>
                    <a:pt x="2042" y="652"/>
                  </a:cubicBezTo>
                  <a:cubicBezTo>
                    <a:pt x="2031" y="607"/>
                    <a:pt x="2031" y="607"/>
                    <a:pt x="2031" y="607"/>
                  </a:cubicBezTo>
                  <a:cubicBezTo>
                    <a:pt x="2013" y="592"/>
                    <a:pt x="2013" y="592"/>
                    <a:pt x="2013" y="592"/>
                  </a:cubicBezTo>
                  <a:cubicBezTo>
                    <a:pt x="2001" y="592"/>
                    <a:pt x="2001" y="592"/>
                    <a:pt x="2001" y="592"/>
                  </a:cubicBezTo>
                  <a:cubicBezTo>
                    <a:pt x="1994" y="574"/>
                    <a:pt x="1994" y="574"/>
                    <a:pt x="1994" y="574"/>
                  </a:cubicBezTo>
                  <a:cubicBezTo>
                    <a:pt x="1987" y="542"/>
                    <a:pt x="1987" y="542"/>
                    <a:pt x="1987" y="542"/>
                  </a:cubicBezTo>
                  <a:cubicBezTo>
                    <a:pt x="1981" y="516"/>
                    <a:pt x="1981" y="516"/>
                    <a:pt x="1981" y="516"/>
                  </a:cubicBezTo>
                  <a:cubicBezTo>
                    <a:pt x="2001" y="511"/>
                    <a:pt x="2001" y="511"/>
                    <a:pt x="2001" y="511"/>
                  </a:cubicBezTo>
                  <a:cubicBezTo>
                    <a:pt x="2001" y="502"/>
                    <a:pt x="2001" y="502"/>
                    <a:pt x="2001" y="502"/>
                  </a:cubicBezTo>
                  <a:cubicBezTo>
                    <a:pt x="1991" y="493"/>
                    <a:pt x="1991" y="493"/>
                    <a:pt x="1991" y="493"/>
                  </a:cubicBezTo>
                  <a:cubicBezTo>
                    <a:pt x="1983" y="473"/>
                    <a:pt x="1983" y="473"/>
                    <a:pt x="1983" y="473"/>
                  </a:cubicBezTo>
                  <a:cubicBezTo>
                    <a:pt x="1974" y="452"/>
                    <a:pt x="1974" y="452"/>
                    <a:pt x="1974" y="452"/>
                  </a:cubicBezTo>
                  <a:cubicBezTo>
                    <a:pt x="1960" y="420"/>
                    <a:pt x="1960" y="420"/>
                    <a:pt x="1960" y="420"/>
                  </a:cubicBezTo>
                  <a:cubicBezTo>
                    <a:pt x="1943" y="380"/>
                    <a:pt x="1943" y="380"/>
                    <a:pt x="1943" y="380"/>
                  </a:cubicBezTo>
                  <a:cubicBezTo>
                    <a:pt x="1924" y="339"/>
                    <a:pt x="1924" y="339"/>
                    <a:pt x="1924" y="339"/>
                  </a:cubicBezTo>
                  <a:cubicBezTo>
                    <a:pt x="1900" y="277"/>
                    <a:pt x="1900" y="277"/>
                    <a:pt x="1900" y="277"/>
                  </a:cubicBezTo>
                  <a:cubicBezTo>
                    <a:pt x="1881" y="251"/>
                    <a:pt x="1881" y="251"/>
                    <a:pt x="1881" y="251"/>
                  </a:cubicBezTo>
                  <a:cubicBezTo>
                    <a:pt x="1877" y="245"/>
                    <a:pt x="1877" y="245"/>
                    <a:pt x="1877" y="245"/>
                  </a:cubicBezTo>
                  <a:cubicBezTo>
                    <a:pt x="1849" y="220"/>
                    <a:pt x="1849" y="220"/>
                    <a:pt x="1849" y="220"/>
                  </a:cubicBezTo>
                  <a:cubicBezTo>
                    <a:pt x="1799" y="188"/>
                    <a:pt x="1799" y="188"/>
                    <a:pt x="1799" y="188"/>
                  </a:cubicBezTo>
                  <a:cubicBezTo>
                    <a:pt x="1765" y="176"/>
                    <a:pt x="1765" y="176"/>
                    <a:pt x="1765" y="176"/>
                  </a:cubicBezTo>
                  <a:cubicBezTo>
                    <a:pt x="1732" y="161"/>
                    <a:pt x="1732" y="161"/>
                    <a:pt x="1732" y="161"/>
                  </a:cubicBezTo>
                  <a:cubicBezTo>
                    <a:pt x="1703" y="133"/>
                    <a:pt x="1703" y="133"/>
                    <a:pt x="1703" y="133"/>
                  </a:cubicBezTo>
                  <a:cubicBezTo>
                    <a:pt x="1652" y="127"/>
                    <a:pt x="1652" y="127"/>
                    <a:pt x="1652" y="127"/>
                  </a:cubicBezTo>
                  <a:cubicBezTo>
                    <a:pt x="1590" y="131"/>
                    <a:pt x="1590" y="131"/>
                    <a:pt x="1590" y="131"/>
                  </a:cubicBezTo>
                  <a:cubicBezTo>
                    <a:pt x="1573" y="131"/>
                    <a:pt x="1573" y="131"/>
                    <a:pt x="1573" y="131"/>
                  </a:cubicBezTo>
                  <a:cubicBezTo>
                    <a:pt x="1549" y="142"/>
                    <a:pt x="1549" y="142"/>
                    <a:pt x="1549" y="142"/>
                  </a:cubicBezTo>
                  <a:cubicBezTo>
                    <a:pt x="1537" y="155"/>
                    <a:pt x="1537" y="155"/>
                    <a:pt x="1537" y="155"/>
                  </a:cubicBezTo>
                  <a:cubicBezTo>
                    <a:pt x="1517" y="148"/>
                    <a:pt x="1517" y="148"/>
                    <a:pt x="1517" y="148"/>
                  </a:cubicBezTo>
                  <a:cubicBezTo>
                    <a:pt x="1493" y="131"/>
                    <a:pt x="1493" y="131"/>
                    <a:pt x="1493" y="131"/>
                  </a:cubicBezTo>
                  <a:cubicBezTo>
                    <a:pt x="1450" y="111"/>
                    <a:pt x="1450" y="111"/>
                    <a:pt x="1450" y="111"/>
                  </a:cubicBezTo>
                  <a:cubicBezTo>
                    <a:pt x="1398" y="85"/>
                    <a:pt x="1398" y="85"/>
                    <a:pt x="1398" y="85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502" y="708"/>
                    <a:pt x="502" y="708"/>
                    <a:pt x="502" y="708"/>
                  </a:cubicBezTo>
                  <a:cubicBezTo>
                    <a:pt x="477" y="1036"/>
                    <a:pt x="477" y="1036"/>
                    <a:pt x="477" y="1036"/>
                  </a:cubicBezTo>
                  <a:cubicBezTo>
                    <a:pt x="477" y="1036"/>
                    <a:pt x="477" y="1036"/>
                    <a:pt x="477" y="1036"/>
                  </a:cubicBezTo>
                  <a:cubicBezTo>
                    <a:pt x="518" y="1038"/>
                    <a:pt x="1287" y="1067"/>
                    <a:pt x="1548" y="1076"/>
                  </a:cubicBezTo>
                  <a:cubicBezTo>
                    <a:pt x="1703" y="1081"/>
                    <a:pt x="2166" y="1095"/>
                    <a:pt x="2166" y="1095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7CB5E78B-5E17-57C7-F68D-EA26E4068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866" y="5616853"/>
              <a:ext cx="1332856" cy="891296"/>
            </a:xfrm>
            <a:custGeom>
              <a:avLst/>
              <a:gdLst>
                <a:gd name="T0" fmla="*/ 1382 w 1862"/>
                <a:gd name="T1" fmla="*/ 1095 h 1247"/>
                <a:gd name="T2" fmla="*/ 1425 w 1862"/>
                <a:gd name="T3" fmla="*/ 1115 h 1247"/>
                <a:gd name="T4" fmla="*/ 1449 w 1862"/>
                <a:gd name="T5" fmla="*/ 1132 h 1247"/>
                <a:gd name="T6" fmla="*/ 1469 w 1862"/>
                <a:gd name="T7" fmla="*/ 1139 h 1247"/>
                <a:gd name="T8" fmla="*/ 1481 w 1862"/>
                <a:gd name="T9" fmla="*/ 1126 h 1247"/>
                <a:gd name="T10" fmla="*/ 1505 w 1862"/>
                <a:gd name="T11" fmla="*/ 1115 h 1247"/>
                <a:gd name="T12" fmla="*/ 1522 w 1862"/>
                <a:gd name="T13" fmla="*/ 1115 h 1247"/>
                <a:gd name="T14" fmla="*/ 1584 w 1862"/>
                <a:gd name="T15" fmla="*/ 1111 h 1247"/>
                <a:gd name="T16" fmla="*/ 1635 w 1862"/>
                <a:gd name="T17" fmla="*/ 1117 h 1247"/>
                <a:gd name="T18" fmla="*/ 1664 w 1862"/>
                <a:gd name="T19" fmla="*/ 1145 h 1247"/>
                <a:gd name="T20" fmla="*/ 1697 w 1862"/>
                <a:gd name="T21" fmla="*/ 1160 h 1247"/>
                <a:gd name="T22" fmla="*/ 1731 w 1862"/>
                <a:gd name="T23" fmla="*/ 1172 h 1247"/>
                <a:gd name="T24" fmla="*/ 1781 w 1862"/>
                <a:gd name="T25" fmla="*/ 1204 h 1247"/>
                <a:gd name="T26" fmla="*/ 1809 w 1862"/>
                <a:gd name="T27" fmla="*/ 1229 h 1247"/>
                <a:gd name="T28" fmla="*/ 1813 w 1862"/>
                <a:gd name="T29" fmla="*/ 1235 h 1247"/>
                <a:gd name="T30" fmla="*/ 1822 w 1862"/>
                <a:gd name="T31" fmla="*/ 1247 h 1247"/>
                <a:gd name="T32" fmla="*/ 1822 w 1862"/>
                <a:gd name="T33" fmla="*/ 1247 h 1247"/>
                <a:gd name="T34" fmla="*/ 1822 w 1862"/>
                <a:gd name="T35" fmla="*/ 1231 h 1247"/>
                <a:gd name="T36" fmla="*/ 1822 w 1862"/>
                <a:gd name="T37" fmla="*/ 1201 h 1247"/>
                <a:gd name="T38" fmla="*/ 1795 w 1862"/>
                <a:gd name="T39" fmla="*/ 1181 h 1247"/>
                <a:gd name="T40" fmla="*/ 1795 w 1862"/>
                <a:gd name="T41" fmla="*/ 1159 h 1247"/>
                <a:gd name="T42" fmla="*/ 1804 w 1862"/>
                <a:gd name="T43" fmla="*/ 1138 h 1247"/>
                <a:gd name="T44" fmla="*/ 1822 w 1862"/>
                <a:gd name="T45" fmla="*/ 1133 h 1247"/>
                <a:gd name="T46" fmla="*/ 1822 w 1862"/>
                <a:gd name="T47" fmla="*/ 1086 h 1247"/>
                <a:gd name="T48" fmla="*/ 1827 w 1862"/>
                <a:gd name="T49" fmla="*/ 1059 h 1247"/>
                <a:gd name="T50" fmla="*/ 1842 w 1862"/>
                <a:gd name="T51" fmla="*/ 1053 h 1247"/>
                <a:gd name="T52" fmla="*/ 1842 w 1862"/>
                <a:gd name="T53" fmla="*/ 1027 h 1247"/>
                <a:gd name="T54" fmla="*/ 1825 w 1862"/>
                <a:gd name="T55" fmla="*/ 991 h 1247"/>
                <a:gd name="T56" fmla="*/ 1812 w 1862"/>
                <a:gd name="T57" fmla="*/ 984 h 1247"/>
                <a:gd name="T58" fmla="*/ 1818 w 1862"/>
                <a:gd name="T59" fmla="*/ 948 h 1247"/>
                <a:gd name="T60" fmla="*/ 1818 w 1862"/>
                <a:gd name="T61" fmla="*/ 928 h 1247"/>
                <a:gd name="T62" fmla="*/ 1842 w 1862"/>
                <a:gd name="T63" fmla="*/ 928 h 1247"/>
                <a:gd name="T64" fmla="*/ 1862 w 1862"/>
                <a:gd name="T65" fmla="*/ 331 h 1247"/>
                <a:gd name="T66" fmla="*/ 1842 w 1862"/>
                <a:gd name="T67" fmla="*/ 306 h 1247"/>
                <a:gd name="T68" fmla="*/ 1829 w 1862"/>
                <a:gd name="T69" fmla="*/ 287 h 1247"/>
                <a:gd name="T70" fmla="*/ 1795 w 1862"/>
                <a:gd name="T71" fmla="*/ 273 h 1247"/>
                <a:gd name="T72" fmla="*/ 1786 w 1862"/>
                <a:gd name="T73" fmla="*/ 254 h 1247"/>
                <a:gd name="T74" fmla="*/ 1769 w 1862"/>
                <a:gd name="T75" fmla="*/ 233 h 1247"/>
                <a:gd name="T76" fmla="*/ 1759 w 1862"/>
                <a:gd name="T77" fmla="*/ 217 h 1247"/>
                <a:gd name="T78" fmla="*/ 1759 w 1862"/>
                <a:gd name="T79" fmla="*/ 200 h 1247"/>
                <a:gd name="T80" fmla="*/ 1759 w 1862"/>
                <a:gd name="T81" fmla="*/ 188 h 1247"/>
                <a:gd name="T82" fmla="*/ 1778 w 1862"/>
                <a:gd name="T83" fmla="*/ 165 h 1247"/>
                <a:gd name="T84" fmla="*/ 1800 w 1862"/>
                <a:gd name="T85" fmla="*/ 145 h 1247"/>
                <a:gd name="T86" fmla="*/ 1825 w 1862"/>
                <a:gd name="T87" fmla="*/ 120 h 1247"/>
                <a:gd name="T88" fmla="*/ 1822 w 1862"/>
                <a:gd name="T89" fmla="*/ 105 h 1247"/>
                <a:gd name="T90" fmla="*/ 1821 w 1862"/>
                <a:gd name="T91" fmla="*/ 99 h 1247"/>
                <a:gd name="T92" fmla="*/ 944 w 1862"/>
                <a:gd name="T93" fmla="*/ 59 h 1247"/>
                <a:gd name="T94" fmla="*/ 98 w 1862"/>
                <a:gd name="T95" fmla="*/ 0 h 1247"/>
                <a:gd name="T96" fmla="*/ 0 w 1862"/>
                <a:gd name="T97" fmla="*/ 984 h 1247"/>
                <a:gd name="T98" fmla="*/ 1330 w 1862"/>
                <a:gd name="T99" fmla="*/ 1069 h 1247"/>
                <a:gd name="T100" fmla="*/ 1382 w 1862"/>
                <a:gd name="T101" fmla="*/ 1095 h 1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62" h="1247">
                  <a:moveTo>
                    <a:pt x="1382" y="1095"/>
                  </a:moveTo>
                  <a:cubicBezTo>
                    <a:pt x="1425" y="1115"/>
                    <a:pt x="1425" y="1115"/>
                    <a:pt x="1425" y="1115"/>
                  </a:cubicBezTo>
                  <a:cubicBezTo>
                    <a:pt x="1449" y="1132"/>
                    <a:pt x="1449" y="1132"/>
                    <a:pt x="1449" y="1132"/>
                  </a:cubicBezTo>
                  <a:cubicBezTo>
                    <a:pt x="1469" y="1139"/>
                    <a:pt x="1469" y="1139"/>
                    <a:pt x="1469" y="1139"/>
                  </a:cubicBezTo>
                  <a:cubicBezTo>
                    <a:pt x="1481" y="1126"/>
                    <a:pt x="1481" y="1126"/>
                    <a:pt x="1481" y="1126"/>
                  </a:cubicBezTo>
                  <a:cubicBezTo>
                    <a:pt x="1505" y="1115"/>
                    <a:pt x="1505" y="1115"/>
                    <a:pt x="1505" y="1115"/>
                  </a:cubicBezTo>
                  <a:cubicBezTo>
                    <a:pt x="1522" y="1115"/>
                    <a:pt x="1522" y="1115"/>
                    <a:pt x="1522" y="1115"/>
                  </a:cubicBezTo>
                  <a:cubicBezTo>
                    <a:pt x="1584" y="1111"/>
                    <a:pt x="1584" y="1111"/>
                    <a:pt x="1584" y="1111"/>
                  </a:cubicBezTo>
                  <a:cubicBezTo>
                    <a:pt x="1635" y="1117"/>
                    <a:pt x="1635" y="1117"/>
                    <a:pt x="1635" y="1117"/>
                  </a:cubicBezTo>
                  <a:cubicBezTo>
                    <a:pt x="1664" y="1145"/>
                    <a:pt x="1664" y="1145"/>
                    <a:pt x="1664" y="1145"/>
                  </a:cubicBezTo>
                  <a:cubicBezTo>
                    <a:pt x="1697" y="1160"/>
                    <a:pt x="1697" y="1160"/>
                    <a:pt x="1697" y="1160"/>
                  </a:cubicBezTo>
                  <a:cubicBezTo>
                    <a:pt x="1731" y="1172"/>
                    <a:pt x="1731" y="1172"/>
                    <a:pt x="1731" y="1172"/>
                  </a:cubicBezTo>
                  <a:cubicBezTo>
                    <a:pt x="1781" y="1204"/>
                    <a:pt x="1781" y="1204"/>
                    <a:pt x="1781" y="1204"/>
                  </a:cubicBezTo>
                  <a:cubicBezTo>
                    <a:pt x="1809" y="1229"/>
                    <a:pt x="1809" y="1229"/>
                    <a:pt x="1809" y="1229"/>
                  </a:cubicBezTo>
                  <a:cubicBezTo>
                    <a:pt x="1813" y="1235"/>
                    <a:pt x="1813" y="1235"/>
                    <a:pt x="1813" y="1235"/>
                  </a:cubicBezTo>
                  <a:cubicBezTo>
                    <a:pt x="1822" y="1247"/>
                    <a:pt x="1822" y="1247"/>
                    <a:pt x="1822" y="1247"/>
                  </a:cubicBezTo>
                  <a:cubicBezTo>
                    <a:pt x="1822" y="1247"/>
                    <a:pt x="1822" y="1247"/>
                    <a:pt x="1822" y="1247"/>
                  </a:cubicBezTo>
                  <a:cubicBezTo>
                    <a:pt x="1822" y="1231"/>
                    <a:pt x="1822" y="1231"/>
                    <a:pt x="1822" y="1231"/>
                  </a:cubicBezTo>
                  <a:cubicBezTo>
                    <a:pt x="1822" y="1201"/>
                    <a:pt x="1822" y="1201"/>
                    <a:pt x="1822" y="1201"/>
                  </a:cubicBezTo>
                  <a:cubicBezTo>
                    <a:pt x="1795" y="1181"/>
                    <a:pt x="1795" y="1181"/>
                    <a:pt x="1795" y="1181"/>
                  </a:cubicBezTo>
                  <a:cubicBezTo>
                    <a:pt x="1795" y="1159"/>
                    <a:pt x="1795" y="1159"/>
                    <a:pt x="1795" y="1159"/>
                  </a:cubicBezTo>
                  <a:cubicBezTo>
                    <a:pt x="1804" y="1138"/>
                    <a:pt x="1804" y="1138"/>
                    <a:pt x="1804" y="1138"/>
                  </a:cubicBezTo>
                  <a:cubicBezTo>
                    <a:pt x="1822" y="1133"/>
                    <a:pt x="1822" y="1133"/>
                    <a:pt x="1822" y="1133"/>
                  </a:cubicBezTo>
                  <a:cubicBezTo>
                    <a:pt x="1822" y="1086"/>
                    <a:pt x="1822" y="1086"/>
                    <a:pt x="1822" y="1086"/>
                  </a:cubicBezTo>
                  <a:cubicBezTo>
                    <a:pt x="1827" y="1059"/>
                    <a:pt x="1827" y="1059"/>
                    <a:pt x="1827" y="1059"/>
                  </a:cubicBezTo>
                  <a:cubicBezTo>
                    <a:pt x="1842" y="1053"/>
                    <a:pt x="1842" y="1053"/>
                    <a:pt x="1842" y="1053"/>
                  </a:cubicBezTo>
                  <a:cubicBezTo>
                    <a:pt x="1842" y="1027"/>
                    <a:pt x="1842" y="1027"/>
                    <a:pt x="1842" y="1027"/>
                  </a:cubicBezTo>
                  <a:cubicBezTo>
                    <a:pt x="1825" y="991"/>
                    <a:pt x="1825" y="991"/>
                    <a:pt x="1825" y="991"/>
                  </a:cubicBezTo>
                  <a:cubicBezTo>
                    <a:pt x="1812" y="984"/>
                    <a:pt x="1812" y="984"/>
                    <a:pt x="1812" y="984"/>
                  </a:cubicBezTo>
                  <a:cubicBezTo>
                    <a:pt x="1818" y="948"/>
                    <a:pt x="1818" y="948"/>
                    <a:pt x="1818" y="948"/>
                  </a:cubicBezTo>
                  <a:cubicBezTo>
                    <a:pt x="1818" y="928"/>
                    <a:pt x="1818" y="928"/>
                    <a:pt x="1818" y="928"/>
                  </a:cubicBezTo>
                  <a:cubicBezTo>
                    <a:pt x="1842" y="928"/>
                    <a:pt x="1842" y="928"/>
                    <a:pt x="1842" y="928"/>
                  </a:cubicBezTo>
                  <a:cubicBezTo>
                    <a:pt x="1862" y="331"/>
                    <a:pt x="1862" y="331"/>
                    <a:pt x="1862" y="331"/>
                  </a:cubicBezTo>
                  <a:cubicBezTo>
                    <a:pt x="1842" y="306"/>
                    <a:pt x="1842" y="306"/>
                    <a:pt x="1842" y="306"/>
                  </a:cubicBezTo>
                  <a:cubicBezTo>
                    <a:pt x="1829" y="287"/>
                    <a:pt x="1829" y="287"/>
                    <a:pt x="1829" y="287"/>
                  </a:cubicBezTo>
                  <a:cubicBezTo>
                    <a:pt x="1795" y="273"/>
                    <a:pt x="1795" y="273"/>
                    <a:pt x="1795" y="273"/>
                  </a:cubicBezTo>
                  <a:cubicBezTo>
                    <a:pt x="1786" y="254"/>
                    <a:pt x="1786" y="254"/>
                    <a:pt x="1786" y="254"/>
                  </a:cubicBezTo>
                  <a:cubicBezTo>
                    <a:pt x="1769" y="233"/>
                    <a:pt x="1769" y="233"/>
                    <a:pt x="1769" y="233"/>
                  </a:cubicBezTo>
                  <a:cubicBezTo>
                    <a:pt x="1759" y="217"/>
                    <a:pt x="1759" y="217"/>
                    <a:pt x="1759" y="217"/>
                  </a:cubicBezTo>
                  <a:cubicBezTo>
                    <a:pt x="1759" y="200"/>
                    <a:pt x="1759" y="200"/>
                    <a:pt x="1759" y="200"/>
                  </a:cubicBezTo>
                  <a:cubicBezTo>
                    <a:pt x="1759" y="188"/>
                    <a:pt x="1759" y="188"/>
                    <a:pt x="1759" y="188"/>
                  </a:cubicBezTo>
                  <a:cubicBezTo>
                    <a:pt x="1778" y="165"/>
                    <a:pt x="1778" y="165"/>
                    <a:pt x="1778" y="165"/>
                  </a:cubicBezTo>
                  <a:cubicBezTo>
                    <a:pt x="1800" y="145"/>
                    <a:pt x="1800" y="145"/>
                    <a:pt x="1800" y="145"/>
                  </a:cubicBezTo>
                  <a:cubicBezTo>
                    <a:pt x="1825" y="120"/>
                    <a:pt x="1825" y="120"/>
                    <a:pt x="1825" y="120"/>
                  </a:cubicBezTo>
                  <a:cubicBezTo>
                    <a:pt x="1822" y="105"/>
                    <a:pt x="1822" y="105"/>
                    <a:pt x="1822" y="105"/>
                  </a:cubicBezTo>
                  <a:cubicBezTo>
                    <a:pt x="1821" y="99"/>
                    <a:pt x="1821" y="99"/>
                    <a:pt x="1821" y="99"/>
                  </a:cubicBezTo>
                  <a:cubicBezTo>
                    <a:pt x="1821" y="99"/>
                    <a:pt x="1159" y="71"/>
                    <a:pt x="944" y="59"/>
                  </a:cubicBezTo>
                  <a:cubicBezTo>
                    <a:pt x="728" y="47"/>
                    <a:pt x="98" y="0"/>
                    <a:pt x="98" y="0"/>
                  </a:cubicBezTo>
                  <a:cubicBezTo>
                    <a:pt x="0" y="984"/>
                    <a:pt x="0" y="984"/>
                    <a:pt x="0" y="984"/>
                  </a:cubicBezTo>
                  <a:cubicBezTo>
                    <a:pt x="1330" y="1069"/>
                    <a:pt x="1330" y="1069"/>
                    <a:pt x="1330" y="1069"/>
                  </a:cubicBezTo>
                  <a:lnTo>
                    <a:pt x="1382" y="1095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A4747DDB-DDF6-CD77-B19F-0195AB224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982" y="5686356"/>
              <a:ext cx="1336946" cy="1103899"/>
            </a:xfrm>
            <a:custGeom>
              <a:avLst/>
              <a:gdLst>
                <a:gd name="T0" fmla="*/ 327 w 327"/>
                <a:gd name="T1" fmla="*/ 37 h 270"/>
                <a:gd name="T2" fmla="*/ 326 w 327"/>
                <a:gd name="T3" fmla="*/ 37 h 270"/>
                <a:gd name="T4" fmla="*/ 40 w 327"/>
                <a:gd name="T5" fmla="*/ 0 h 270"/>
                <a:gd name="T6" fmla="*/ 34 w 327"/>
                <a:gd name="T7" fmla="*/ 33 h 270"/>
                <a:gd name="T8" fmla="*/ 9 w 327"/>
                <a:gd name="T9" fmla="*/ 174 h 270"/>
                <a:gd name="T10" fmla="*/ 0 w 327"/>
                <a:gd name="T11" fmla="*/ 231 h 270"/>
                <a:gd name="T12" fmla="*/ 87 w 327"/>
                <a:gd name="T13" fmla="*/ 245 h 270"/>
                <a:gd name="T14" fmla="*/ 303 w 327"/>
                <a:gd name="T15" fmla="*/ 270 h 270"/>
                <a:gd name="T16" fmla="*/ 315 w 327"/>
                <a:gd name="T17" fmla="*/ 155 h 270"/>
                <a:gd name="T18" fmla="*/ 327 w 327"/>
                <a:gd name="T19" fmla="*/ 3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7" h="270">
                  <a:moveTo>
                    <a:pt x="327" y="37"/>
                  </a:moveTo>
                  <a:lnTo>
                    <a:pt x="326" y="37"/>
                  </a:lnTo>
                  <a:lnTo>
                    <a:pt x="40" y="0"/>
                  </a:lnTo>
                  <a:lnTo>
                    <a:pt x="34" y="33"/>
                  </a:lnTo>
                  <a:lnTo>
                    <a:pt x="9" y="174"/>
                  </a:lnTo>
                  <a:lnTo>
                    <a:pt x="0" y="231"/>
                  </a:lnTo>
                  <a:lnTo>
                    <a:pt x="87" y="245"/>
                  </a:lnTo>
                  <a:lnTo>
                    <a:pt x="303" y="270"/>
                  </a:lnTo>
                  <a:lnTo>
                    <a:pt x="315" y="155"/>
                  </a:lnTo>
                  <a:lnTo>
                    <a:pt x="327" y="37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5A1DB29D-B0CA-A48E-5419-932C6748F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30369" y="4889097"/>
              <a:ext cx="1246998" cy="801349"/>
            </a:xfrm>
            <a:custGeom>
              <a:avLst/>
              <a:gdLst>
                <a:gd name="T0" fmla="*/ 1723 w 1740"/>
                <a:gd name="T1" fmla="*/ 1116 h 1124"/>
                <a:gd name="T2" fmla="*/ 1724 w 1740"/>
                <a:gd name="T3" fmla="*/ 1122 h 1124"/>
                <a:gd name="T4" fmla="*/ 1725 w 1740"/>
                <a:gd name="T5" fmla="*/ 1124 h 1124"/>
                <a:gd name="T6" fmla="*/ 1740 w 1740"/>
                <a:gd name="T7" fmla="*/ 1108 h 1124"/>
                <a:gd name="T8" fmla="*/ 1740 w 1740"/>
                <a:gd name="T9" fmla="*/ 1073 h 1124"/>
                <a:gd name="T10" fmla="*/ 1740 w 1740"/>
                <a:gd name="T11" fmla="*/ 1041 h 1124"/>
                <a:gd name="T12" fmla="*/ 1731 w 1740"/>
                <a:gd name="T13" fmla="*/ 999 h 1124"/>
                <a:gd name="T14" fmla="*/ 1716 w 1740"/>
                <a:gd name="T15" fmla="*/ 977 h 1124"/>
                <a:gd name="T16" fmla="*/ 1699 w 1740"/>
                <a:gd name="T17" fmla="*/ 954 h 1124"/>
                <a:gd name="T18" fmla="*/ 1699 w 1740"/>
                <a:gd name="T19" fmla="*/ 911 h 1124"/>
                <a:gd name="T20" fmla="*/ 1689 w 1740"/>
                <a:gd name="T21" fmla="*/ 896 h 1124"/>
                <a:gd name="T22" fmla="*/ 1675 w 1740"/>
                <a:gd name="T23" fmla="*/ 875 h 1124"/>
                <a:gd name="T24" fmla="*/ 1675 w 1740"/>
                <a:gd name="T25" fmla="*/ 813 h 1124"/>
                <a:gd name="T26" fmla="*/ 1675 w 1740"/>
                <a:gd name="T27" fmla="*/ 715 h 1124"/>
                <a:gd name="T28" fmla="*/ 1668 w 1740"/>
                <a:gd name="T29" fmla="*/ 595 h 1124"/>
                <a:gd name="T30" fmla="*/ 1668 w 1740"/>
                <a:gd name="T31" fmla="*/ 531 h 1124"/>
                <a:gd name="T32" fmla="*/ 1642 w 1740"/>
                <a:gd name="T33" fmla="*/ 485 h 1124"/>
                <a:gd name="T34" fmla="*/ 1623 w 1740"/>
                <a:gd name="T35" fmla="*/ 414 h 1124"/>
                <a:gd name="T36" fmla="*/ 1608 w 1740"/>
                <a:gd name="T37" fmla="*/ 371 h 1124"/>
                <a:gd name="T38" fmla="*/ 1617 w 1740"/>
                <a:gd name="T39" fmla="*/ 326 h 1124"/>
                <a:gd name="T40" fmla="*/ 1616 w 1740"/>
                <a:gd name="T41" fmla="*/ 288 h 1124"/>
                <a:gd name="T42" fmla="*/ 1608 w 1740"/>
                <a:gd name="T43" fmla="*/ 268 h 1124"/>
                <a:gd name="T44" fmla="*/ 1608 w 1740"/>
                <a:gd name="T45" fmla="*/ 235 h 1124"/>
                <a:gd name="T46" fmla="*/ 1608 w 1740"/>
                <a:gd name="T47" fmla="*/ 229 h 1124"/>
                <a:gd name="T48" fmla="*/ 1622 w 1740"/>
                <a:gd name="T49" fmla="*/ 215 h 1124"/>
                <a:gd name="T50" fmla="*/ 1627 w 1740"/>
                <a:gd name="T51" fmla="*/ 199 h 1124"/>
                <a:gd name="T52" fmla="*/ 1624 w 1740"/>
                <a:gd name="T53" fmla="*/ 173 h 1124"/>
                <a:gd name="T54" fmla="*/ 1608 w 1740"/>
                <a:gd name="T55" fmla="*/ 155 h 1124"/>
                <a:gd name="T56" fmla="*/ 1608 w 1740"/>
                <a:gd name="T57" fmla="*/ 144 h 1124"/>
                <a:gd name="T58" fmla="*/ 1602 w 1740"/>
                <a:gd name="T59" fmla="*/ 121 h 1124"/>
                <a:gd name="T60" fmla="*/ 1594 w 1740"/>
                <a:gd name="T61" fmla="*/ 92 h 1124"/>
                <a:gd name="T62" fmla="*/ 669 w 1740"/>
                <a:gd name="T63" fmla="*/ 50 h 1124"/>
                <a:gd name="T64" fmla="*/ 97 w 1740"/>
                <a:gd name="T65" fmla="*/ 0 h 1124"/>
                <a:gd name="T66" fmla="*/ 0 w 1740"/>
                <a:gd name="T67" fmla="*/ 1017 h 1124"/>
                <a:gd name="T68" fmla="*/ 846 w 1740"/>
                <a:gd name="T69" fmla="*/ 1076 h 1124"/>
                <a:gd name="T70" fmla="*/ 1723 w 1740"/>
                <a:gd name="T71" fmla="*/ 1116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40" h="1124">
                  <a:moveTo>
                    <a:pt x="1723" y="1116"/>
                  </a:moveTo>
                  <a:cubicBezTo>
                    <a:pt x="1724" y="1122"/>
                    <a:pt x="1724" y="1122"/>
                    <a:pt x="1724" y="1122"/>
                  </a:cubicBezTo>
                  <a:cubicBezTo>
                    <a:pt x="1725" y="1124"/>
                    <a:pt x="1725" y="1124"/>
                    <a:pt x="1725" y="1124"/>
                  </a:cubicBezTo>
                  <a:cubicBezTo>
                    <a:pt x="1740" y="1108"/>
                    <a:pt x="1740" y="1108"/>
                    <a:pt x="1740" y="1108"/>
                  </a:cubicBezTo>
                  <a:cubicBezTo>
                    <a:pt x="1740" y="1073"/>
                    <a:pt x="1740" y="1073"/>
                    <a:pt x="1740" y="1073"/>
                  </a:cubicBezTo>
                  <a:cubicBezTo>
                    <a:pt x="1740" y="1041"/>
                    <a:pt x="1740" y="1041"/>
                    <a:pt x="1740" y="1041"/>
                  </a:cubicBezTo>
                  <a:cubicBezTo>
                    <a:pt x="1731" y="999"/>
                    <a:pt x="1731" y="999"/>
                    <a:pt x="1731" y="999"/>
                  </a:cubicBezTo>
                  <a:cubicBezTo>
                    <a:pt x="1716" y="977"/>
                    <a:pt x="1716" y="977"/>
                    <a:pt x="1716" y="977"/>
                  </a:cubicBezTo>
                  <a:cubicBezTo>
                    <a:pt x="1699" y="954"/>
                    <a:pt x="1699" y="954"/>
                    <a:pt x="1699" y="954"/>
                  </a:cubicBezTo>
                  <a:cubicBezTo>
                    <a:pt x="1699" y="911"/>
                    <a:pt x="1699" y="911"/>
                    <a:pt x="1699" y="911"/>
                  </a:cubicBezTo>
                  <a:cubicBezTo>
                    <a:pt x="1689" y="896"/>
                    <a:pt x="1689" y="896"/>
                    <a:pt x="1689" y="896"/>
                  </a:cubicBezTo>
                  <a:cubicBezTo>
                    <a:pt x="1675" y="875"/>
                    <a:pt x="1675" y="875"/>
                    <a:pt x="1675" y="875"/>
                  </a:cubicBezTo>
                  <a:cubicBezTo>
                    <a:pt x="1675" y="813"/>
                    <a:pt x="1675" y="813"/>
                    <a:pt x="1675" y="813"/>
                  </a:cubicBezTo>
                  <a:cubicBezTo>
                    <a:pt x="1675" y="715"/>
                    <a:pt x="1675" y="715"/>
                    <a:pt x="1675" y="715"/>
                  </a:cubicBezTo>
                  <a:cubicBezTo>
                    <a:pt x="1668" y="595"/>
                    <a:pt x="1668" y="595"/>
                    <a:pt x="1668" y="595"/>
                  </a:cubicBezTo>
                  <a:cubicBezTo>
                    <a:pt x="1668" y="531"/>
                    <a:pt x="1668" y="531"/>
                    <a:pt x="1668" y="531"/>
                  </a:cubicBezTo>
                  <a:cubicBezTo>
                    <a:pt x="1642" y="485"/>
                    <a:pt x="1642" y="485"/>
                    <a:pt x="1642" y="485"/>
                  </a:cubicBezTo>
                  <a:cubicBezTo>
                    <a:pt x="1623" y="414"/>
                    <a:pt x="1623" y="414"/>
                    <a:pt x="1623" y="414"/>
                  </a:cubicBezTo>
                  <a:cubicBezTo>
                    <a:pt x="1608" y="371"/>
                    <a:pt x="1608" y="371"/>
                    <a:pt x="1608" y="371"/>
                  </a:cubicBezTo>
                  <a:cubicBezTo>
                    <a:pt x="1617" y="326"/>
                    <a:pt x="1617" y="326"/>
                    <a:pt x="1617" y="326"/>
                  </a:cubicBezTo>
                  <a:cubicBezTo>
                    <a:pt x="1616" y="288"/>
                    <a:pt x="1616" y="288"/>
                    <a:pt x="1616" y="288"/>
                  </a:cubicBezTo>
                  <a:cubicBezTo>
                    <a:pt x="1608" y="268"/>
                    <a:pt x="1608" y="268"/>
                    <a:pt x="1608" y="268"/>
                  </a:cubicBezTo>
                  <a:cubicBezTo>
                    <a:pt x="1608" y="235"/>
                    <a:pt x="1608" y="235"/>
                    <a:pt x="1608" y="235"/>
                  </a:cubicBezTo>
                  <a:cubicBezTo>
                    <a:pt x="1608" y="229"/>
                    <a:pt x="1608" y="229"/>
                    <a:pt x="1608" y="229"/>
                  </a:cubicBezTo>
                  <a:cubicBezTo>
                    <a:pt x="1622" y="215"/>
                    <a:pt x="1622" y="215"/>
                    <a:pt x="1622" y="215"/>
                  </a:cubicBezTo>
                  <a:cubicBezTo>
                    <a:pt x="1627" y="199"/>
                    <a:pt x="1627" y="199"/>
                    <a:pt x="1627" y="199"/>
                  </a:cubicBezTo>
                  <a:cubicBezTo>
                    <a:pt x="1624" y="173"/>
                    <a:pt x="1624" y="173"/>
                    <a:pt x="1624" y="173"/>
                  </a:cubicBezTo>
                  <a:cubicBezTo>
                    <a:pt x="1608" y="155"/>
                    <a:pt x="1608" y="155"/>
                    <a:pt x="1608" y="155"/>
                  </a:cubicBezTo>
                  <a:cubicBezTo>
                    <a:pt x="1608" y="144"/>
                    <a:pt x="1608" y="144"/>
                    <a:pt x="1608" y="144"/>
                  </a:cubicBezTo>
                  <a:cubicBezTo>
                    <a:pt x="1602" y="121"/>
                    <a:pt x="1602" y="121"/>
                    <a:pt x="1602" y="121"/>
                  </a:cubicBezTo>
                  <a:cubicBezTo>
                    <a:pt x="1594" y="92"/>
                    <a:pt x="1594" y="92"/>
                    <a:pt x="1594" y="92"/>
                  </a:cubicBezTo>
                  <a:cubicBezTo>
                    <a:pt x="1594" y="92"/>
                    <a:pt x="901" y="65"/>
                    <a:pt x="669" y="50"/>
                  </a:cubicBezTo>
                  <a:cubicBezTo>
                    <a:pt x="526" y="41"/>
                    <a:pt x="97" y="0"/>
                    <a:pt x="97" y="0"/>
                  </a:cubicBezTo>
                  <a:cubicBezTo>
                    <a:pt x="0" y="1017"/>
                    <a:pt x="0" y="1017"/>
                    <a:pt x="0" y="1017"/>
                  </a:cubicBezTo>
                  <a:cubicBezTo>
                    <a:pt x="0" y="1017"/>
                    <a:pt x="630" y="1064"/>
                    <a:pt x="846" y="1076"/>
                  </a:cubicBezTo>
                  <a:cubicBezTo>
                    <a:pt x="1061" y="1088"/>
                    <a:pt x="1723" y="1116"/>
                    <a:pt x="1723" y="1116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786E4E73-6406-080C-9B12-7A8F24AB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1498" y="6688044"/>
              <a:ext cx="1390095" cy="1091632"/>
            </a:xfrm>
            <a:custGeom>
              <a:avLst/>
              <a:gdLst>
                <a:gd name="T0" fmla="*/ 1851 w 1947"/>
                <a:gd name="T1" fmla="*/ 1530 h 1530"/>
                <a:gd name="T2" fmla="*/ 1921 w 1947"/>
                <a:gd name="T3" fmla="*/ 521 h 1530"/>
                <a:gd name="T4" fmla="*/ 1922 w 1947"/>
                <a:gd name="T5" fmla="*/ 521 h 1530"/>
                <a:gd name="T6" fmla="*/ 1922 w 1947"/>
                <a:gd name="T7" fmla="*/ 521 h 1530"/>
                <a:gd name="T8" fmla="*/ 1947 w 1947"/>
                <a:gd name="T9" fmla="*/ 193 h 1530"/>
                <a:gd name="T10" fmla="*/ 1445 w 1947"/>
                <a:gd name="T11" fmla="*/ 145 h 1530"/>
                <a:gd name="T12" fmla="*/ 208 w 1947"/>
                <a:gd name="T13" fmla="*/ 0 h 1530"/>
                <a:gd name="T14" fmla="*/ 0 w 1947"/>
                <a:gd name="T15" fmla="*/ 1332 h 1530"/>
                <a:gd name="T16" fmla="*/ 1589 w 1947"/>
                <a:gd name="T17" fmla="*/ 1515 h 1530"/>
                <a:gd name="T18" fmla="*/ 1851 w 1947"/>
                <a:gd name="T19" fmla="*/ 1530 h 1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7" h="1530">
                  <a:moveTo>
                    <a:pt x="1851" y="1530"/>
                  </a:moveTo>
                  <a:cubicBezTo>
                    <a:pt x="1921" y="521"/>
                    <a:pt x="1921" y="521"/>
                    <a:pt x="1921" y="521"/>
                  </a:cubicBezTo>
                  <a:cubicBezTo>
                    <a:pt x="1921" y="521"/>
                    <a:pt x="1921" y="521"/>
                    <a:pt x="1922" y="521"/>
                  </a:cubicBezTo>
                  <a:cubicBezTo>
                    <a:pt x="1922" y="521"/>
                    <a:pt x="1922" y="521"/>
                    <a:pt x="1922" y="521"/>
                  </a:cubicBezTo>
                  <a:cubicBezTo>
                    <a:pt x="1947" y="193"/>
                    <a:pt x="1947" y="193"/>
                    <a:pt x="1947" y="193"/>
                  </a:cubicBezTo>
                  <a:cubicBezTo>
                    <a:pt x="1445" y="145"/>
                    <a:pt x="1445" y="145"/>
                    <a:pt x="1445" y="145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1589" y="1515"/>
                    <a:pt x="1589" y="1515"/>
                    <a:pt x="1589" y="1515"/>
                  </a:cubicBezTo>
                  <a:cubicBezTo>
                    <a:pt x="1589" y="1515"/>
                    <a:pt x="1697" y="1521"/>
                    <a:pt x="1851" y="1530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1E605CA-811D-FDC8-1214-36BD5F988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7493" y="6295547"/>
              <a:ext cx="1071191" cy="1345120"/>
            </a:xfrm>
            <a:custGeom>
              <a:avLst/>
              <a:gdLst>
                <a:gd name="T0" fmla="*/ 262 w 262"/>
                <a:gd name="T1" fmla="*/ 96 h 329"/>
                <a:gd name="T2" fmla="*/ 175 w 262"/>
                <a:gd name="T3" fmla="*/ 82 h 329"/>
                <a:gd name="T4" fmla="*/ 184 w 262"/>
                <a:gd name="T5" fmla="*/ 25 h 329"/>
                <a:gd name="T6" fmla="*/ 57 w 262"/>
                <a:gd name="T7" fmla="*/ 0 h 329"/>
                <a:gd name="T8" fmla="*/ 0 w 262"/>
                <a:gd name="T9" fmla="*/ 288 h 329"/>
                <a:gd name="T10" fmla="*/ 226 w 262"/>
                <a:gd name="T11" fmla="*/ 329 h 329"/>
                <a:gd name="T12" fmla="*/ 262 w 262"/>
                <a:gd name="T13" fmla="*/ 9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" h="329">
                  <a:moveTo>
                    <a:pt x="262" y="96"/>
                  </a:moveTo>
                  <a:lnTo>
                    <a:pt x="175" y="82"/>
                  </a:lnTo>
                  <a:lnTo>
                    <a:pt x="184" y="25"/>
                  </a:lnTo>
                  <a:lnTo>
                    <a:pt x="57" y="0"/>
                  </a:lnTo>
                  <a:lnTo>
                    <a:pt x="0" y="288"/>
                  </a:lnTo>
                  <a:lnTo>
                    <a:pt x="226" y="329"/>
                  </a:lnTo>
                  <a:lnTo>
                    <a:pt x="262" y="9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CAEFE4BC-0FD3-3357-ABB5-AA4982C9E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9895" y="6054323"/>
              <a:ext cx="1230644" cy="1860273"/>
            </a:xfrm>
            <a:custGeom>
              <a:avLst/>
              <a:gdLst>
                <a:gd name="T0" fmla="*/ 31 w 1719"/>
                <a:gd name="T1" fmla="*/ 903 h 2600"/>
                <a:gd name="T2" fmla="*/ 6 w 1719"/>
                <a:gd name="T3" fmla="*/ 913 h 2600"/>
                <a:gd name="T4" fmla="*/ 0 w 1719"/>
                <a:gd name="T5" fmla="*/ 936 h 2600"/>
                <a:gd name="T6" fmla="*/ 8 w 1719"/>
                <a:gd name="T7" fmla="*/ 960 h 2600"/>
                <a:gd name="T8" fmla="*/ 12 w 1719"/>
                <a:gd name="T9" fmla="*/ 983 h 2600"/>
                <a:gd name="T10" fmla="*/ 23 w 1719"/>
                <a:gd name="T11" fmla="*/ 991 h 2600"/>
                <a:gd name="T12" fmla="*/ 45 w 1719"/>
                <a:gd name="T13" fmla="*/ 1000 h 2600"/>
                <a:gd name="T14" fmla="*/ 1110 w 1719"/>
                <a:gd name="T15" fmla="*/ 2600 h 2600"/>
                <a:gd name="T16" fmla="*/ 1130 w 1719"/>
                <a:gd name="T17" fmla="*/ 2572 h 2600"/>
                <a:gd name="T18" fmla="*/ 1136 w 1719"/>
                <a:gd name="T19" fmla="*/ 2539 h 2600"/>
                <a:gd name="T20" fmla="*/ 1136 w 1719"/>
                <a:gd name="T21" fmla="*/ 2452 h 2600"/>
                <a:gd name="T22" fmla="*/ 1138 w 1719"/>
                <a:gd name="T23" fmla="*/ 2353 h 2600"/>
                <a:gd name="T24" fmla="*/ 1136 w 1719"/>
                <a:gd name="T25" fmla="*/ 2281 h 2600"/>
                <a:gd name="T26" fmla="*/ 1157 w 1719"/>
                <a:gd name="T27" fmla="*/ 2258 h 2600"/>
                <a:gd name="T28" fmla="*/ 1203 w 1719"/>
                <a:gd name="T29" fmla="*/ 2246 h 2600"/>
                <a:gd name="T30" fmla="*/ 1219 w 1719"/>
                <a:gd name="T31" fmla="*/ 2275 h 2600"/>
                <a:gd name="T32" fmla="*/ 1248 w 1719"/>
                <a:gd name="T33" fmla="*/ 2260 h 2600"/>
                <a:gd name="T34" fmla="*/ 1281 w 1719"/>
                <a:gd name="T35" fmla="*/ 2287 h 2600"/>
                <a:gd name="T36" fmla="*/ 1300 w 1719"/>
                <a:gd name="T37" fmla="*/ 2297 h 2600"/>
                <a:gd name="T38" fmla="*/ 1324 w 1719"/>
                <a:gd name="T39" fmla="*/ 2283 h 2600"/>
                <a:gd name="T40" fmla="*/ 1361 w 1719"/>
                <a:gd name="T41" fmla="*/ 2160 h 2600"/>
                <a:gd name="T42" fmla="*/ 1397 w 1719"/>
                <a:gd name="T43" fmla="*/ 1987 h 2600"/>
                <a:gd name="T44" fmla="*/ 1719 w 1719"/>
                <a:gd name="T45" fmla="*/ 340 h 2600"/>
                <a:gd name="T46" fmla="*/ 928 w 1719"/>
                <a:gd name="T47" fmla="*/ 164 h 2600"/>
                <a:gd name="T48" fmla="*/ 289 w 1719"/>
                <a:gd name="T49" fmla="*/ 0 h 2600"/>
                <a:gd name="T50" fmla="*/ 54 w 1719"/>
                <a:gd name="T51" fmla="*/ 896 h 2600"/>
                <a:gd name="T52" fmla="*/ 31 w 1719"/>
                <a:gd name="T53" fmla="*/ 903 h 2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9" h="2600">
                  <a:moveTo>
                    <a:pt x="31" y="903"/>
                  </a:moveTo>
                  <a:cubicBezTo>
                    <a:pt x="6" y="913"/>
                    <a:pt x="6" y="913"/>
                    <a:pt x="6" y="913"/>
                  </a:cubicBezTo>
                  <a:cubicBezTo>
                    <a:pt x="0" y="936"/>
                    <a:pt x="0" y="936"/>
                    <a:pt x="0" y="936"/>
                  </a:cubicBezTo>
                  <a:cubicBezTo>
                    <a:pt x="8" y="960"/>
                    <a:pt x="8" y="960"/>
                    <a:pt x="8" y="960"/>
                  </a:cubicBezTo>
                  <a:cubicBezTo>
                    <a:pt x="12" y="983"/>
                    <a:pt x="12" y="983"/>
                    <a:pt x="12" y="983"/>
                  </a:cubicBezTo>
                  <a:cubicBezTo>
                    <a:pt x="23" y="991"/>
                    <a:pt x="23" y="991"/>
                    <a:pt x="23" y="991"/>
                  </a:cubicBezTo>
                  <a:cubicBezTo>
                    <a:pt x="45" y="1000"/>
                    <a:pt x="45" y="1000"/>
                    <a:pt x="45" y="1000"/>
                  </a:cubicBezTo>
                  <a:cubicBezTo>
                    <a:pt x="1110" y="2600"/>
                    <a:pt x="1110" y="2600"/>
                    <a:pt x="1110" y="2600"/>
                  </a:cubicBezTo>
                  <a:cubicBezTo>
                    <a:pt x="1130" y="2572"/>
                    <a:pt x="1130" y="2572"/>
                    <a:pt x="1130" y="2572"/>
                  </a:cubicBezTo>
                  <a:cubicBezTo>
                    <a:pt x="1136" y="2539"/>
                    <a:pt x="1136" y="2539"/>
                    <a:pt x="1136" y="2539"/>
                  </a:cubicBezTo>
                  <a:cubicBezTo>
                    <a:pt x="1136" y="2452"/>
                    <a:pt x="1136" y="2452"/>
                    <a:pt x="1136" y="2452"/>
                  </a:cubicBezTo>
                  <a:cubicBezTo>
                    <a:pt x="1138" y="2353"/>
                    <a:pt x="1138" y="2353"/>
                    <a:pt x="1138" y="2353"/>
                  </a:cubicBezTo>
                  <a:cubicBezTo>
                    <a:pt x="1136" y="2281"/>
                    <a:pt x="1136" y="2281"/>
                    <a:pt x="1136" y="2281"/>
                  </a:cubicBezTo>
                  <a:cubicBezTo>
                    <a:pt x="1157" y="2258"/>
                    <a:pt x="1157" y="2258"/>
                    <a:pt x="1157" y="2258"/>
                  </a:cubicBezTo>
                  <a:cubicBezTo>
                    <a:pt x="1203" y="2246"/>
                    <a:pt x="1203" y="2246"/>
                    <a:pt x="1203" y="2246"/>
                  </a:cubicBezTo>
                  <a:cubicBezTo>
                    <a:pt x="1219" y="2275"/>
                    <a:pt x="1219" y="2275"/>
                    <a:pt x="1219" y="2275"/>
                  </a:cubicBezTo>
                  <a:cubicBezTo>
                    <a:pt x="1248" y="2260"/>
                    <a:pt x="1248" y="2260"/>
                    <a:pt x="1248" y="2260"/>
                  </a:cubicBezTo>
                  <a:cubicBezTo>
                    <a:pt x="1281" y="2287"/>
                    <a:pt x="1281" y="2287"/>
                    <a:pt x="1281" y="2287"/>
                  </a:cubicBezTo>
                  <a:cubicBezTo>
                    <a:pt x="1300" y="2297"/>
                    <a:pt x="1300" y="2297"/>
                    <a:pt x="1300" y="2297"/>
                  </a:cubicBezTo>
                  <a:cubicBezTo>
                    <a:pt x="1324" y="2283"/>
                    <a:pt x="1324" y="2283"/>
                    <a:pt x="1324" y="2283"/>
                  </a:cubicBezTo>
                  <a:cubicBezTo>
                    <a:pt x="1324" y="2283"/>
                    <a:pt x="1353" y="2191"/>
                    <a:pt x="1361" y="2160"/>
                  </a:cubicBezTo>
                  <a:cubicBezTo>
                    <a:pt x="1371" y="2117"/>
                    <a:pt x="1397" y="1987"/>
                    <a:pt x="1397" y="1987"/>
                  </a:cubicBezTo>
                  <a:cubicBezTo>
                    <a:pt x="1719" y="340"/>
                    <a:pt x="1719" y="340"/>
                    <a:pt x="1719" y="340"/>
                  </a:cubicBezTo>
                  <a:cubicBezTo>
                    <a:pt x="1719" y="340"/>
                    <a:pt x="1125" y="211"/>
                    <a:pt x="928" y="164"/>
                  </a:cubicBezTo>
                  <a:cubicBezTo>
                    <a:pt x="768" y="126"/>
                    <a:pt x="289" y="0"/>
                    <a:pt x="289" y="0"/>
                  </a:cubicBezTo>
                  <a:cubicBezTo>
                    <a:pt x="54" y="896"/>
                    <a:pt x="54" y="896"/>
                    <a:pt x="54" y="896"/>
                  </a:cubicBezTo>
                  <a:lnTo>
                    <a:pt x="31" y="90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E2C688C1-E080-9CA2-C17B-51C2F37F1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65" y="4893184"/>
              <a:ext cx="1525018" cy="1291971"/>
            </a:xfrm>
            <a:custGeom>
              <a:avLst/>
              <a:gdLst>
                <a:gd name="T0" fmla="*/ 1868 w 2135"/>
                <a:gd name="T1" fmla="*/ 1263 h 1809"/>
                <a:gd name="T2" fmla="*/ 1878 w 2135"/>
                <a:gd name="T3" fmla="*/ 1213 h 1809"/>
                <a:gd name="T4" fmla="*/ 1908 w 2135"/>
                <a:gd name="T5" fmla="*/ 1186 h 1809"/>
                <a:gd name="T6" fmla="*/ 1915 w 2135"/>
                <a:gd name="T7" fmla="*/ 1106 h 1809"/>
                <a:gd name="T8" fmla="*/ 1902 w 2135"/>
                <a:gd name="T9" fmla="*/ 1073 h 1809"/>
                <a:gd name="T10" fmla="*/ 1879 w 2135"/>
                <a:gd name="T11" fmla="*/ 1064 h 1809"/>
                <a:gd name="T12" fmla="*/ 1873 w 2135"/>
                <a:gd name="T13" fmla="*/ 1010 h 1809"/>
                <a:gd name="T14" fmla="*/ 1922 w 2135"/>
                <a:gd name="T15" fmla="*/ 954 h 1809"/>
                <a:gd name="T16" fmla="*/ 1998 w 2135"/>
                <a:gd name="T17" fmla="*/ 873 h 1809"/>
                <a:gd name="T18" fmla="*/ 2018 w 2135"/>
                <a:gd name="T19" fmla="*/ 832 h 1809"/>
                <a:gd name="T20" fmla="*/ 2065 w 2135"/>
                <a:gd name="T21" fmla="*/ 771 h 1809"/>
                <a:gd name="T22" fmla="*/ 2108 w 2135"/>
                <a:gd name="T23" fmla="*/ 722 h 1809"/>
                <a:gd name="T24" fmla="*/ 2135 w 2135"/>
                <a:gd name="T25" fmla="*/ 685 h 1809"/>
                <a:gd name="T26" fmla="*/ 2130 w 2135"/>
                <a:gd name="T27" fmla="*/ 625 h 1809"/>
                <a:gd name="T28" fmla="*/ 2080 w 2135"/>
                <a:gd name="T29" fmla="*/ 577 h 1809"/>
                <a:gd name="T30" fmla="*/ 2059 w 2135"/>
                <a:gd name="T31" fmla="*/ 515 h 1809"/>
                <a:gd name="T32" fmla="*/ 1531 w 2135"/>
                <a:gd name="T33" fmla="*/ 391 h 1809"/>
                <a:gd name="T34" fmla="*/ 1466 w 2135"/>
                <a:gd name="T35" fmla="*/ 391 h 1809"/>
                <a:gd name="T36" fmla="*/ 1239 w 2135"/>
                <a:gd name="T37" fmla="*/ 405 h 1809"/>
                <a:gd name="T38" fmla="*/ 1194 w 2135"/>
                <a:gd name="T39" fmla="*/ 397 h 1809"/>
                <a:gd name="T40" fmla="*/ 1159 w 2135"/>
                <a:gd name="T41" fmla="*/ 403 h 1809"/>
                <a:gd name="T42" fmla="*/ 1140 w 2135"/>
                <a:gd name="T43" fmla="*/ 389 h 1809"/>
                <a:gd name="T44" fmla="*/ 1088 w 2135"/>
                <a:gd name="T45" fmla="*/ 383 h 1809"/>
                <a:gd name="T46" fmla="*/ 1076 w 2135"/>
                <a:gd name="T47" fmla="*/ 360 h 1809"/>
                <a:gd name="T48" fmla="*/ 997 w 2135"/>
                <a:gd name="T49" fmla="*/ 343 h 1809"/>
                <a:gd name="T50" fmla="*/ 946 w 2135"/>
                <a:gd name="T51" fmla="*/ 325 h 1809"/>
                <a:gd name="T52" fmla="*/ 845 w 2135"/>
                <a:gd name="T53" fmla="*/ 339 h 1809"/>
                <a:gd name="T54" fmla="*/ 721 w 2135"/>
                <a:gd name="T55" fmla="*/ 279 h 1809"/>
                <a:gd name="T56" fmla="*/ 690 w 2135"/>
                <a:gd name="T57" fmla="*/ 89 h 1809"/>
                <a:gd name="T58" fmla="*/ 630 w 2135"/>
                <a:gd name="T59" fmla="*/ 71 h 1809"/>
                <a:gd name="T60" fmla="*/ 561 w 2135"/>
                <a:gd name="T61" fmla="*/ 34 h 1809"/>
                <a:gd name="T62" fmla="*/ 489 w 2135"/>
                <a:gd name="T63" fmla="*/ 0 h 1809"/>
                <a:gd name="T64" fmla="*/ 476 w 2135"/>
                <a:gd name="T65" fmla="*/ 96 h 1809"/>
                <a:gd name="T66" fmla="*/ 448 w 2135"/>
                <a:gd name="T67" fmla="*/ 194 h 1809"/>
                <a:gd name="T68" fmla="*/ 419 w 2135"/>
                <a:gd name="T69" fmla="*/ 266 h 1809"/>
                <a:gd name="T70" fmla="*/ 385 w 2135"/>
                <a:gd name="T71" fmla="*/ 351 h 1809"/>
                <a:gd name="T72" fmla="*/ 329 w 2135"/>
                <a:gd name="T73" fmla="*/ 464 h 1809"/>
                <a:gd name="T74" fmla="*/ 244 w 2135"/>
                <a:gd name="T75" fmla="*/ 685 h 1809"/>
                <a:gd name="T76" fmla="*/ 172 w 2135"/>
                <a:gd name="T77" fmla="*/ 833 h 1809"/>
                <a:gd name="T78" fmla="*/ 128 w 2135"/>
                <a:gd name="T79" fmla="*/ 901 h 1809"/>
                <a:gd name="T80" fmla="*/ 98 w 2135"/>
                <a:gd name="T81" fmla="*/ 946 h 1809"/>
                <a:gd name="T82" fmla="*/ 41 w 2135"/>
                <a:gd name="T83" fmla="*/ 1028 h 1809"/>
                <a:gd name="T84" fmla="*/ 36 w 2135"/>
                <a:gd name="T85" fmla="*/ 1111 h 1809"/>
                <a:gd name="T86" fmla="*/ 36 w 2135"/>
                <a:gd name="T87" fmla="*/ 1140 h 1809"/>
                <a:gd name="T88" fmla="*/ 24 w 2135"/>
                <a:gd name="T89" fmla="*/ 1171 h 1809"/>
                <a:gd name="T90" fmla="*/ 8 w 2135"/>
                <a:gd name="T91" fmla="*/ 1210 h 1809"/>
                <a:gd name="T92" fmla="*/ 4 w 2135"/>
                <a:gd name="T93" fmla="*/ 1299 h 1809"/>
                <a:gd name="T94" fmla="*/ 24 w 2135"/>
                <a:gd name="T95" fmla="*/ 1338 h 1809"/>
                <a:gd name="T96" fmla="*/ 1661 w 2135"/>
                <a:gd name="T97" fmla="*/ 1791 h 1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35" h="1809">
                  <a:moveTo>
                    <a:pt x="1740" y="1809"/>
                  </a:moveTo>
                  <a:cubicBezTo>
                    <a:pt x="1868" y="1263"/>
                    <a:pt x="1868" y="1263"/>
                    <a:pt x="1868" y="1263"/>
                  </a:cubicBezTo>
                  <a:cubicBezTo>
                    <a:pt x="1868" y="1228"/>
                    <a:pt x="1868" y="1228"/>
                    <a:pt x="1868" y="1228"/>
                  </a:cubicBezTo>
                  <a:cubicBezTo>
                    <a:pt x="1878" y="1213"/>
                    <a:pt x="1878" y="1213"/>
                    <a:pt x="1878" y="1213"/>
                  </a:cubicBezTo>
                  <a:cubicBezTo>
                    <a:pt x="1907" y="1204"/>
                    <a:pt x="1907" y="1204"/>
                    <a:pt x="1907" y="1204"/>
                  </a:cubicBezTo>
                  <a:cubicBezTo>
                    <a:pt x="1908" y="1186"/>
                    <a:pt x="1908" y="1186"/>
                    <a:pt x="1908" y="1186"/>
                  </a:cubicBezTo>
                  <a:cubicBezTo>
                    <a:pt x="1915" y="1160"/>
                    <a:pt x="1915" y="1160"/>
                    <a:pt x="1915" y="1160"/>
                  </a:cubicBezTo>
                  <a:cubicBezTo>
                    <a:pt x="1915" y="1106"/>
                    <a:pt x="1915" y="1106"/>
                    <a:pt x="1915" y="1106"/>
                  </a:cubicBezTo>
                  <a:cubicBezTo>
                    <a:pt x="1921" y="1088"/>
                    <a:pt x="1921" y="1088"/>
                    <a:pt x="1921" y="1088"/>
                  </a:cubicBezTo>
                  <a:cubicBezTo>
                    <a:pt x="1902" y="1073"/>
                    <a:pt x="1902" y="1073"/>
                    <a:pt x="1902" y="1073"/>
                  </a:cubicBezTo>
                  <a:cubicBezTo>
                    <a:pt x="1894" y="1073"/>
                    <a:pt x="1894" y="1073"/>
                    <a:pt x="1894" y="1073"/>
                  </a:cubicBezTo>
                  <a:cubicBezTo>
                    <a:pt x="1879" y="1064"/>
                    <a:pt x="1879" y="1064"/>
                    <a:pt x="1879" y="1064"/>
                  </a:cubicBezTo>
                  <a:cubicBezTo>
                    <a:pt x="1868" y="1044"/>
                    <a:pt x="1868" y="1044"/>
                    <a:pt x="1868" y="1044"/>
                  </a:cubicBezTo>
                  <a:cubicBezTo>
                    <a:pt x="1873" y="1010"/>
                    <a:pt x="1873" y="1010"/>
                    <a:pt x="1873" y="1010"/>
                  </a:cubicBezTo>
                  <a:cubicBezTo>
                    <a:pt x="1884" y="989"/>
                    <a:pt x="1884" y="989"/>
                    <a:pt x="1884" y="989"/>
                  </a:cubicBezTo>
                  <a:cubicBezTo>
                    <a:pt x="1922" y="954"/>
                    <a:pt x="1922" y="954"/>
                    <a:pt x="1922" y="954"/>
                  </a:cubicBezTo>
                  <a:cubicBezTo>
                    <a:pt x="1980" y="898"/>
                    <a:pt x="1980" y="898"/>
                    <a:pt x="1980" y="898"/>
                  </a:cubicBezTo>
                  <a:cubicBezTo>
                    <a:pt x="1998" y="873"/>
                    <a:pt x="1998" y="873"/>
                    <a:pt x="1998" y="873"/>
                  </a:cubicBezTo>
                  <a:cubicBezTo>
                    <a:pt x="2009" y="844"/>
                    <a:pt x="2009" y="844"/>
                    <a:pt x="2009" y="844"/>
                  </a:cubicBezTo>
                  <a:cubicBezTo>
                    <a:pt x="2018" y="832"/>
                    <a:pt x="2018" y="832"/>
                    <a:pt x="2018" y="832"/>
                  </a:cubicBezTo>
                  <a:cubicBezTo>
                    <a:pt x="2033" y="800"/>
                    <a:pt x="2033" y="800"/>
                    <a:pt x="2033" y="800"/>
                  </a:cubicBezTo>
                  <a:cubicBezTo>
                    <a:pt x="2065" y="771"/>
                    <a:pt x="2065" y="771"/>
                    <a:pt x="2065" y="771"/>
                  </a:cubicBezTo>
                  <a:cubicBezTo>
                    <a:pt x="2085" y="743"/>
                    <a:pt x="2085" y="743"/>
                    <a:pt x="2085" y="743"/>
                  </a:cubicBezTo>
                  <a:cubicBezTo>
                    <a:pt x="2108" y="722"/>
                    <a:pt x="2108" y="722"/>
                    <a:pt x="2108" y="722"/>
                  </a:cubicBezTo>
                  <a:cubicBezTo>
                    <a:pt x="2117" y="692"/>
                    <a:pt x="2117" y="692"/>
                    <a:pt x="2117" y="692"/>
                  </a:cubicBezTo>
                  <a:cubicBezTo>
                    <a:pt x="2135" y="685"/>
                    <a:pt x="2135" y="685"/>
                    <a:pt x="2135" y="685"/>
                  </a:cubicBezTo>
                  <a:cubicBezTo>
                    <a:pt x="2135" y="655"/>
                    <a:pt x="2135" y="655"/>
                    <a:pt x="2135" y="655"/>
                  </a:cubicBezTo>
                  <a:cubicBezTo>
                    <a:pt x="2130" y="625"/>
                    <a:pt x="2130" y="625"/>
                    <a:pt x="2130" y="625"/>
                  </a:cubicBezTo>
                  <a:cubicBezTo>
                    <a:pt x="2115" y="602"/>
                    <a:pt x="2115" y="602"/>
                    <a:pt x="2115" y="602"/>
                  </a:cubicBezTo>
                  <a:cubicBezTo>
                    <a:pt x="2080" y="577"/>
                    <a:pt x="2080" y="577"/>
                    <a:pt x="2080" y="577"/>
                  </a:cubicBezTo>
                  <a:cubicBezTo>
                    <a:pt x="2065" y="546"/>
                    <a:pt x="2065" y="546"/>
                    <a:pt x="2065" y="546"/>
                  </a:cubicBezTo>
                  <a:cubicBezTo>
                    <a:pt x="2059" y="515"/>
                    <a:pt x="2059" y="515"/>
                    <a:pt x="2059" y="515"/>
                  </a:cubicBezTo>
                  <a:cubicBezTo>
                    <a:pt x="1603" y="397"/>
                    <a:pt x="1603" y="397"/>
                    <a:pt x="1603" y="397"/>
                  </a:cubicBezTo>
                  <a:cubicBezTo>
                    <a:pt x="1531" y="391"/>
                    <a:pt x="1531" y="391"/>
                    <a:pt x="1531" y="391"/>
                  </a:cubicBezTo>
                  <a:cubicBezTo>
                    <a:pt x="1504" y="401"/>
                    <a:pt x="1504" y="401"/>
                    <a:pt x="1504" y="401"/>
                  </a:cubicBezTo>
                  <a:cubicBezTo>
                    <a:pt x="1466" y="391"/>
                    <a:pt x="1466" y="391"/>
                    <a:pt x="1466" y="391"/>
                  </a:cubicBezTo>
                  <a:cubicBezTo>
                    <a:pt x="1435" y="397"/>
                    <a:pt x="1435" y="397"/>
                    <a:pt x="1435" y="397"/>
                  </a:cubicBezTo>
                  <a:cubicBezTo>
                    <a:pt x="1239" y="405"/>
                    <a:pt x="1239" y="405"/>
                    <a:pt x="1239" y="405"/>
                  </a:cubicBezTo>
                  <a:cubicBezTo>
                    <a:pt x="1219" y="389"/>
                    <a:pt x="1219" y="389"/>
                    <a:pt x="1219" y="389"/>
                  </a:cubicBezTo>
                  <a:cubicBezTo>
                    <a:pt x="1194" y="397"/>
                    <a:pt x="1194" y="397"/>
                    <a:pt x="1194" y="397"/>
                  </a:cubicBezTo>
                  <a:cubicBezTo>
                    <a:pt x="1175" y="403"/>
                    <a:pt x="1175" y="403"/>
                    <a:pt x="1175" y="403"/>
                  </a:cubicBezTo>
                  <a:cubicBezTo>
                    <a:pt x="1159" y="403"/>
                    <a:pt x="1159" y="403"/>
                    <a:pt x="1159" y="403"/>
                  </a:cubicBezTo>
                  <a:cubicBezTo>
                    <a:pt x="1140" y="397"/>
                    <a:pt x="1140" y="397"/>
                    <a:pt x="1140" y="397"/>
                  </a:cubicBezTo>
                  <a:cubicBezTo>
                    <a:pt x="1140" y="389"/>
                    <a:pt x="1140" y="389"/>
                    <a:pt x="1140" y="389"/>
                  </a:cubicBezTo>
                  <a:cubicBezTo>
                    <a:pt x="1107" y="391"/>
                    <a:pt x="1107" y="391"/>
                    <a:pt x="1107" y="391"/>
                  </a:cubicBezTo>
                  <a:cubicBezTo>
                    <a:pt x="1088" y="383"/>
                    <a:pt x="1088" y="383"/>
                    <a:pt x="1088" y="383"/>
                  </a:cubicBezTo>
                  <a:cubicBezTo>
                    <a:pt x="1076" y="372"/>
                    <a:pt x="1076" y="372"/>
                    <a:pt x="1076" y="372"/>
                  </a:cubicBezTo>
                  <a:cubicBezTo>
                    <a:pt x="1076" y="360"/>
                    <a:pt x="1076" y="360"/>
                    <a:pt x="1076" y="360"/>
                  </a:cubicBezTo>
                  <a:cubicBezTo>
                    <a:pt x="1047" y="354"/>
                    <a:pt x="1047" y="354"/>
                    <a:pt x="1047" y="354"/>
                  </a:cubicBezTo>
                  <a:cubicBezTo>
                    <a:pt x="997" y="343"/>
                    <a:pt x="997" y="343"/>
                    <a:pt x="997" y="343"/>
                  </a:cubicBezTo>
                  <a:cubicBezTo>
                    <a:pt x="962" y="327"/>
                    <a:pt x="962" y="327"/>
                    <a:pt x="962" y="327"/>
                  </a:cubicBezTo>
                  <a:cubicBezTo>
                    <a:pt x="946" y="325"/>
                    <a:pt x="946" y="325"/>
                    <a:pt x="946" y="325"/>
                  </a:cubicBezTo>
                  <a:cubicBezTo>
                    <a:pt x="907" y="327"/>
                    <a:pt x="907" y="327"/>
                    <a:pt x="907" y="327"/>
                  </a:cubicBezTo>
                  <a:cubicBezTo>
                    <a:pt x="845" y="339"/>
                    <a:pt x="845" y="339"/>
                    <a:pt x="845" y="339"/>
                  </a:cubicBezTo>
                  <a:cubicBezTo>
                    <a:pt x="766" y="321"/>
                    <a:pt x="766" y="321"/>
                    <a:pt x="766" y="321"/>
                  </a:cubicBezTo>
                  <a:cubicBezTo>
                    <a:pt x="721" y="279"/>
                    <a:pt x="721" y="279"/>
                    <a:pt x="721" y="279"/>
                  </a:cubicBezTo>
                  <a:cubicBezTo>
                    <a:pt x="721" y="279"/>
                    <a:pt x="741" y="230"/>
                    <a:pt x="733" y="166"/>
                  </a:cubicBezTo>
                  <a:cubicBezTo>
                    <a:pt x="725" y="102"/>
                    <a:pt x="690" y="89"/>
                    <a:pt x="690" y="89"/>
                  </a:cubicBezTo>
                  <a:cubicBezTo>
                    <a:pt x="659" y="83"/>
                    <a:pt x="659" y="83"/>
                    <a:pt x="659" y="83"/>
                  </a:cubicBezTo>
                  <a:cubicBezTo>
                    <a:pt x="630" y="71"/>
                    <a:pt x="630" y="71"/>
                    <a:pt x="630" y="71"/>
                  </a:cubicBezTo>
                  <a:cubicBezTo>
                    <a:pt x="630" y="71"/>
                    <a:pt x="628" y="34"/>
                    <a:pt x="595" y="34"/>
                  </a:cubicBezTo>
                  <a:cubicBezTo>
                    <a:pt x="561" y="34"/>
                    <a:pt x="561" y="34"/>
                    <a:pt x="561" y="34"/>
                  </a:cubicBezTo>
                  <a:cubicBezTo>
                    <a:pt x="516" y="20"/>
                    <a:pt x="516" y="20"/>
                    <a:pt x="516" y="2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9" y="49"/>
                    <a:pt x="489" y="49"/>
                    <a:pt x="489" y="49"/>
                  </a:cubicBezTo>
                  <a:cubicBezTo>
                    <a:pt x="476" y="96"/>
                    <a:pt x="476" y="96"/>
                    <a:pt x="476" y="96"/>
                  </a:cubicBezTo>
                  <a:cubicBezTo>
                    <a:pt x="444" y="155"/>
                    <a:pt x="444" y="155"/>
                    <a:pt x="444" y="155"/>
                  </a:cubicBezTo>
                  <a:cubicBezTo>
                    <a:pt x="448" y="194"/>
                    <a:pt x="448" y="194"/>
                    <a:pt x="448" y="194"/>
                  </a:cubicBezTo>
                  <a:cubicBezTo>
                    <a:pt x="442" y="229"/>
                    <a:pt x="442" y="229"/>
                    <a:pt x="442" y="229"/>
                  </a:cubicBezTo>
                  <a:cubicBezTo>
                    <a:pt x="419" y="266"/>
                    <a:pt x="419" y="266"/>
                    <a:pt x="419" y="266"/>
                  </a:cubicBezTo>
                  <a:cubicBezTo>
                    <a:pt x="406" y="299"/>
                    <a:pt x="406" y="299"/>
                    <a:pt x="406" y="299"/>
                  </a:cubicBezTo>
                  <a:cubicBezTo>
                    <a:pt x="385" y="351"/>
                    <a:pt x="385" y="351"/>
                    <a:pt x="385" y="351"/>
                  </a:cubicBezTo>
                  <a:cubicBezTo>
                    <a:pt x="370" y="387"/>
                    <a:pt x="370" y="387"/>
                    <a:pt x="370" y="387"/>
                  </a:cubicBezTo>
                  <a:cubicBezTo>
                    <a:pt x="329" y="464"/>
                    <a:pt x="329" y="464"/>
                    <a:pt x="329" y="464"/>
                  </a:cubicBezTo>
                  <a:cubicBezTo>
                    <a:pt x="283" y="590"/>
                    <a:pt x="283" y="590"/>
                    <a:pt x="283" y="590"/>
                  </a:cubicBezTo>
                  <a:cubicBezTo>
                    <a:pt x="244" y="685"/>
                    <a:pt x="244" y="685"/>
                    <a:pt x="244" y="685"/>
                  </a:cubicBezTo>
                  <a:cubicBezTo>
                    <a:pt x="211" y="773"/>
                    <a:pt x="211" y="773"/>
                    <a:pt x="211" y="773"/>
                  </a:cubicBezTo>
                  <a:cubicBezTo>
                    <a:pt x="172" y="833"/>
                    <a:pt x="172" y="833"/>
                    <a:pt x="172" y="833"/>
                  </a:cubicBezTo>
                  <a:cubicBezTo>
                    <a:pt x="154" y="864"/>
                    <a:pt x="154" y="864"/>
                    <a:pt x="154" y="864"/>
                  </a:cubicBezTo>
                  <a:cubicBezTo>
                    <a:pt x="128" y="901"/>
                    <a:pt x="128" y="901"/>
                    <a:pt x="128" y="901"/>
                  </a:cubicBezTo>
                  <a:cubicBezTo>
                    <a:pt x="109" y="922"/>
                    <a:pt x="109" y="922"/>
                    <a:pt x="109" y="922"/>
                  </a:cubicBezTo>
                  <a:cubicBezTo>
                    <a:pt x="98" y="946"/>
                    <a:pt x="98" y="946"/>
                    <a:pt x="98" y="946"/>
                  </a:cubicBezTo>
                  <a:cubicBezTo>
                    <a:pt x="79" y="980"/>
                    <a:pt x="79" y="980"/>
                    <a:pt x="79" y="980"/>
                  </a:cubicBezTo>
                  <a:cubicBezTo>
                    <a:pt x="41" y="1028"/>
                    <a:pt x="41" y="1028"/>
                    <a:pt x="41" y="1028"/>
                  </a:cubicBezTo>
                  <a:cubicBezTo>
                    <a:pt x="24" y="1053"/>
                    <a:pt x="24" y="1053"/>
                    <a:pt x="24" y="1053"/>
                  </a:cubicBezTo>
                  <a:cubicBezTo>
                    <a:pt x="36" y="1111"/>
                    <a:pt x="36" y="1111"/>
                    <a:pt x="36" y="1111"/>
                  </a:cubicBezTo>
                  <a:cubicBezTo>
                    <a:pt x="36" y="1126"/>
                    <a:pt x="36" y="1126"/>
                    <a:pt x="36" y="1126"/>
                  </a:cubicBezTo>
                  <a:cubicBezTo>
                    <a:pt x="36" y="1140"/>
                    <a:pt x="36" y="1140"/>
                    <a:pt x="36" y="1140"/>
                  </a:cubicBezTo>
                  <a:cubicBezTo>
                    <a:pt x="35" y="1149"/>
                    <a:pt x="35" y="1149"/>
                    <a:pt x="35" y="1149"/>
                  </a:cubicBezTo>
                  <a:cubicBezTo>
                    <a:pt x="24" y="1171"/>
                    <a:pt x="24" y="1171"/>
                    <a:pt x="24" y="1171"/>
                  </a:cubicBezTo>
                  <a:cubicBezTo>
                    <a:pt x="14" y="1181"/>
                    <a:pt x="14" y="1181"/>
                    <a:pt x="14" y="1181"/>
                  </a:cubicBezTo>
                  <a:cubicBezTo>
                    <a:pt x="8" y="1210"/>
                    <a:pt x="8" y="1210"/>
                    <a:pt x="8" y="1210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4" y="1299"/>
                    <a:pt x="4" y="1299"/>
                    <a:pt x="4" y="1299"/>
                  </a:cubicBezTo>
                  <a:cubicBezTo>
                    <a:pt x="16" y="1318"/>
                    <a:pt x="16" y="1318"/>
                    <a:pt x="16" y="1318"/>
                  </a:cubicBezTo>
                  <a:cubicBezTo>
                    <a:pt x="24" y="1338"/>
                    <a:pt x="24" y="1338"/>
                    <a:pt x="24" y="1338"/>
                  </a:cubicBezTo>
                  <a:cubicBezTo>
                    <a:pt x="1022" y="1627"/>
                    <a:pt x="1022" y="1627"/>
                    <a:pt x="1022" y="1627"/>
                  </a:cubicBezTo>
                  <a:cubicBezTo>
                    <a:pt x="1022" y="1627"/>
                    <a:pt x="1501" y="1753"/>
                    <a:pt x="1661" y="1791"/>
                  </a:cubicBezTo>
                  <a:cubicBezTo>
                    <a:pt x="1683" y="1796"/>
                    <a:pt x="1710" y="1803"/>
                    <a:pt x="1740" y="1809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0">
              <a:extLst>
                <a:ext uri="{FF2B5EF4-FFF2-40B4-BE49-F238E27FC236}">
                  <a16:creationId xmlns:a16="http://schemas.microsoft.com/office/drawing/2014/main" id="{45995E3B-0ABE-7B30-B837-B63D4A097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9474" y="4553839"/>
              <a:ext cx="1132520" cy="1843919"/>
            </a:xfrm>
            <a:custGeom>
              <a:avLst/>
              <a:gdLst>
                <a:gd name="T0" fmla="*/ 319 w 1586"/>
                <a:gd name="T1" fmla="*/ 989 h 2581"/>
                <a:gd name="T2" fmla="*/ 340 w 1586"/>
                <a:gd name="T3" fmla="*/ 1051 h 2581"/>
                <a:gd name="T4" fmla="*/ 390 w 1586"/>
                <a:gd name="T5" fmla="*/ 1099 h 2581"/>
                <a:gd name="T6" fmla="*/ 395 w 1586"/>
                <a:gd name="T7" fmla="*/ 1159 h 2581"/>
                <a:gd name="T8" fmla="*/ 368 w 1586"/>
                <a:gd name="T9" fmla="*/ 1196 h 2581"/>
                <a:gd name="T10" fmla="*/ 325 w 1586"/>
                <a:gd name="T11" fmla="*/ 1245 h 2581"/>
                <a:gd name="T12" fmla="*/ 278 w 1586"/>
                <a:gd name="T13" fmla="*/ 1306 h 2581"/>
                <a:gd name="T14" fmla="*/ 258 w 1586"/>
                <a:gd name="T15" fmla="*/ 1347 h 2581"/>
                <a:gd name="T16" fmla="*/ 182 w 1586"/>
                <a:gd name="T17" fmla="*/ 1428 h 2581"/>
                <a:gd name="T18" fmla="*/ 133 w 1586"/>
                <a:gd name="T19" fmla="*/ 1484 h 2581"/>
                <a:gd name="T20" fmla="*/ 139 w 1586"/>
                <a:gd name="T21" fmla="*/ 1538 h 2581"/>
                <a:gd name="T22" fmla="*/ 162 w 1586"/>
                <a:gd name="T23" fmla="*/ 1547 h 2581"/>
                <a:gd name="T24" fmla="*/ 175 w 1586"/>
                <a:gd name="T25" fmla="*/ 1580 h 2581"/>
                <a:gd name="T26" fmla="*/ 168 w 1586"/>
                <a:gd name="T27" fmla="*/ 1660 h 2581"/>
                <a:gd name="T28" fmla="*/ 138 w 1586"/>
                <a:gd name="T29" fmla="*/ 1687 h 2581"/>
                <a:gd name="T30" fmla="*/ 128 w 1586"/>
                <a:gd name="T31" fmla="*/ 1737 h 2581"/>
                <a:gd name="T32" fmla="*/ 712 w 1586"/>
                <a:gd name="T33" fmla="*/ 2441 h 2581"/>
                <a:gd name="T34" fmla="*/ 1586 w 1586"/>
                <a:gd name="T35" fmla="*/ 1776 h 2581"/>
                <a:gd name="T36" fmla="*/ 1553 w 1586"/>
                <a:gd name="T37" fmla="*/ 1745 h 2581"/>
                <a:gd name="T38" fmla="*/ 1551 w 1586"/>
                <a:gd name="T39" fmla="*/ 1712 h 2581"/>
                <a:gd name="T40" fmla="*/ 1514 w 1586"/>
                <a:gd name="T41" fmla="*/ 1671 h 2581"/>
                <a:gd name="T42" fmla="*/ 1477 w 1586"/>
                <a:gd name="T43" fmla="*/ 1706 h 2581"/>
                <a:gd name="T44" fmla="*/ 1402 w 1586"/>
                <a:gd name="T45" fmla="*/ 1714 h 2581"/>
                <a:gd name="T46" fmla="*/ 1315 w 1586"/>
                <a:gd name="T47" fmla="*/ 1696 h 2581"/>
                <a:gd name="T48" fmla="*/ 1276 w 1586"/>
                <a:gd name="T49" fmla="*/ 1712 h 2581"/>
                <a:gd name="T50" fmla="*/ 1247 w 1586"/>
                <a:gd name="T51" fmla="*/ 1710 h 2581"/>
                <a:gd name="T52" fmla="*/ 1191 w 1586"/>
                <a:gd name="T53" fmla="*/ 1687 h 2581"/>
                <a:gd name="T54" fmla="*/ 1165 w 1586"/>
                <a:gd name="T55" fmla="*/ 1712 h 2581"/>
                <a:gd name="T56" fmla="*/ 1139 w 1586"/>
                <a:gd name="T57" fmla="*/ 1723 h 2581"/>
                <a:gd name="T58" fmla="*/ 1125 w 1586"/>
                <a:gd name="T59" fmla="*/ 1677 h 2581"/>
                <a:gd name="T60" fmla="*/ 1111 w 1586"/>
                <a:gd name="T61" fmla="*/ 1607 h 2581"/>
                <a:gd name="T62" fmla="*/ 1082 w 1586"/>
                <a:gd name="T63" fmla="*/ 1565 h 2581"/>
                <a:gd name="T64" fmla="*/ 1039 w 1586"/>
                <a:gd name="T65" fmla="*/ 1526 h 2581"/>
                <a:gd name="T66" fmla="*/ 1039 w 1586"/>
                <a:gd name="T67" fmla="*/ 1477 h 2581"/>
                <a:gd name="T68" fmla="*/ 1012 w 1586"/>
                <a:gd name="T69" fmla="*/ 1415 h 2581"/>
                <a:gd name="T70" fmla="*/ 1012 w 1586"/>
                <a:gd name="T71" fmla="*/ 1351 h 2581"/>
                <a:gd name="T72" fmla="*/ 989 w 1586"/>
                <a:gd name="T73" fmla="*/ 1268 h 2581"/>
                <a:gd name="T74" fmla="*/ 964 w 1586"/>
                <a:gd name="T75" fmla="*/ 1241 h 2581"/>
                <a:gd name="T76" fmla="*/ 925 w 1586"/>
                <a:gd name="T77" fmla="*/ 1258 h 2581"/>
                <a:gd name="T78" fmla="*/ 884 w 1586"/>
                <a:gd name="T79" fmla="*/ 1287 h 2581"/>
                <a:gd name="T80" fmla="*/ 869 w 1586"/>
                <a:gd name="T81" fmla="*/ 1270 h 2581"/>
                <a:gd name="T82" fmla="*/ 830 w 1586"/>
                <a:gd name="T83" fmla="*/ 1241 h 2581"/>
                <a:gd name="T84" fmla="*/ 867 w 1586"/>
                <a:gd name="T85" fmla="*/ 1165 h 2581"/>
                <a:gd name="T86" fmla="*/ 898 w 1586"/>
                <a:gd name="T87" fmla="*/ 1150 h 2581"/>
                <a:gd name="T88" fmla="*/ 890 w 1586"/>
                <a:gd name="T89" fmla="*/ 1065 h 2581"/>
                <a:gd name="T90" fmla="*/ 929 w 1586"/>
                <a:gd name="T91" fmla="*/ 977 h 2581"/>
                <a:gd name="T92" fmla="*/ 950 w 1586"/>
                <a:gd name="T93" fmla="*/ 906 h 2581"/>
                <a:gd name="T94" fmla="*/ 892 w 1586"/>
                <a:gd name="T95" fmla="*/ 886 h 2581"/>
                <a:gd name="T96" fmla="*/ 853 w 1586"/>
                <a:gd name="T97" fmla="*/ 820 h 2581"/>
                <a:gd name="T98" fmla="*/ 830 w 1586"/>
                <a:gd name="T99" fmla="*/ 731 h 2581"/>
                <a:gd name="T100" fmla="*/ 762 w 1586"/>
                <a:gd name="T101" fmla="*/ 642 h 2581"/>
                <a:gd name="T102" fmla="*/ 727 w 1586"/>
                <a:gd name="T103" fmla="*/ 570 h 2581"/>
                <a:gd name="T104" fmla="*/ 706 w 1586"/>
                <a:gd name="T105" fmla="*/ 526 h 2581"/>
                <a:gd name="T106" fmla="*/ 706 w 1586"/>
                <a:gd name="T107" fmla="*/ 474 h 2581"/>
                <a:gd name="T108" fmla="*/ 675 w 1586"/>
                <a:gd name="T109" fmla="*/ 425 h 2581"/>
                <a:gd name="T110" fmla="*/ 685 w 1586"/>
                <a:gd name="T111" fmla="*/ 331 h 2581"/>
                <a:gd name="T112" fmla="*/ 722 w 1586"/>
                <a:gd name="T113" fmla="*/ 173 h 2581"/>
                <a:gd name="T114" fmla="*/ 749 w 1586"/>
                <a:gd name="T115" fmla="*/ 55 h 2581"/>
                <a:gd name="T116" fmla="*/ 332 w 1586"/>
                <a:gd name="T117" fmla="*/ 834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86" h="2581">
                  <a:moveTo>
                    <a:pt x="334" y="911"/>
                  </a:moveTo>
                  <a:cubicBezTo>
                    <a:pt x="334" y="955"/>
                    <a:pt x="319" y="989"/>
                    <a:pt x="319" y="989"/>
                  </a:cubicBezTo>
                  <a:cubicBezTo>
                    <a:pt x="325" y="1020"/>
                    <a:pt x="325" y="1020"/>
                    <a:pt x="325" y="1020"/>
                  </a:cubicBezTo>
                  <a:cubicBezTo>
                    <a:pt x="340" y="1051"/>
                    <a:pt x="340" y="1051"/>
                    <a:pt x="340" y="1051"/>
                  </a:cubicBezTo>
                  <a:cubicBezTo>
                    <a:pt x="375" y="1076"/>
                    <a:pt x="375" y="1076"/>
                    <a:pt x="375" y="1076"/>
                  </a:cubicBezTo>
                  <a:cubicBezTo>
                    <a:pt x="390" y="1099"/>
                    <a:pt x="390" y="1099"/>
                    <a:pt x="390" y="1099"/>
                  </a:cubicBezTo>
                  <a:cubicBezTo>
                    <a:pt x="395" y="1129"/>
                    <a:pt x="395" y="1129"/>
                    <a:pt x="395" y="1129"/>
                  </a:cubicBezTo>
                  <a:cubicBezTo>
                    <a:pt x="395" y="1159"/>
                    <a:pt x="395" y="1159"/>
                    <a:pt x="395" y="1159"/>
                  </a:cubicBezTo>
                  <a:cubicBezTo>
                    <a:pt x="377" y="1166"/>
                    <a:pt x="377" y="1166"/>
                    <a:pt x="377" y="1166"/>
                  </a:cubicBezTo>
                  <a:cubicBezTo>
                    <a:pt x="368" y="1196"/>
                    <a:pt x="368" y="1196"/>
                    <a:pt x="368" y="1196"/>
                  </a:cubicBezTo>
                  <a:cubicBezTo>
                    <a:pt x="345" y="1217"/>
                    <a:pt x="345" y="1217"/>
                    <a:pt x="345" y="1217"/>
                  </a:cubicBezTo>
                  <a:cubicBezTo>
                    <a:pt x="325" y="1245"/>
                    <a:pt x="325" y="1245"/>
                    <a:pt x="325" y="1245"/>
                  </a:cubicBezTo>
                  <a:cubicBezTo>
                    <a:pt x="293" y="1274"/>
                    <a:pt x="293" y="1274"/>
                    <a:pt x="293" y="1274"/>
                  </a:cubicBezTo>
                  <a:cubicBezTo>
                    <a:pt x="278" y="1306"/>
                    <a:pt x="278" y="1306"/>
                    <a:pt x="278" y="1306"/>
                  </a:cubicBezTo>
                  <a:cubicBezTo>
                    <a:pt x="269" y="1318"/>
                    <a:pt x="269" y="1318"/>
                    <a:pt x="269" y="1318"/>
                  </a:cubicBezTo>
                  <a:cubicBezTo>
                    <a:pt x="258" y="1347"/>
                    <a:pt x="258" y="1347"/>
                    <a:pt x="258" y="1347"/>
                  </a:cubicBezTo>
                  <a:cubicBezTo>
                    <a:pt x="240" y="1372"/>
                    <a:pt x="240" y="1372"/>
                    <a:pt x="240" y="1372"/>
                  </a:cubicBezTo>
                  <a:cubicBezTo>
                    <a:pt x="182" y="1428"/>
                    <a:pt x="182" y="1428"/>
                    <a:pt x="182" y="1428"/>
                  </a:cubicBezTo>
                  <a:cubicBezTo>
                    <a:pt x="144" y="1463"/>
                    <a:pt x="144" y="1463"/>
                    <a:pt x="144" y="1463"/>
                  </a:cubicBezTo>
                  <a:cubicBezTo>
                    <a:pt x="133" y="1484"/>
                    <a:pt x="133" y="1484"/>
                    <a:pt x="133" y="1484"/>
                  </a:cubicBezTo>
                  <a:cubicBezTo>
                    <a:pt x="128" y="1518"/>
                    <a:pt x="128" y="1518"/>
                    <a:pt x="128" y="1518"/>
                  </a:cubicBezTo>
                  <a:cubicBezTo>
                    <a:pt x="139" y="1538"/>
                    <a:pt x="139" y="1538"/>
                    <a:pt x="139" y="1538"/>
                  </a:cubicBezTo>
                  <a:cubicBezTo>
                    <a:pt x="154" y="1547"/>
                    <a:pt x="154" y="1547"/>
                    <a:pt x="154" y="1547"/>
                  </a:cubicBezTo>
                  <a:cubicBezTo>
                    <a:pt x="162" y="1547"/>
                    <a:pt x="162" y="1547"/>
                    <a:pt x="162" y="1547"/>
                  </a:cubicBezTo>
                  <a:cubicBezTo>
                    <a:pt x="181" y="1562"/>
                    <a:pt x="181" y="1562"/>
                    <a:pt x="181" y="1562"/>
                  </a:cubicBezTo>
                  <a:cubicBezTo>
                    <a:pt x="175" y="1580"/>
                    <a:pt x="175" y="1580"/>
                    <a:pt x="175" y="1580"/>
                  </a:cubicBezTo>
                  <a:cubicBezTo>
                    <a:pt x="175" y="1634"/>
                    <a:pt x="175" y="1634"/>
                    <a:pt x="175" y="1634"/>
                  </a:cubicBezTo>
                  <a:cubicBezTo>
                    <a:pt x="168" y="1660"/>
                    <a:pt x="168" y="1660"/>
                    <a:pt x="168" y="1660"/>
                  </a:cubicBezTo>
                  <a:cubicBezTo>
                    <a:pt x="167" y="1678"/>
                    <a:pt x="167" y="1678"/>
                    <a:pt x="167" y="1678"/>
                  </a:cubicBezTo>
                  <a:cubicBezTo>
                    <a:pt x="138" y="1687"/>
                    <a:pt x="138" y="1687"/>
                    <a:pt x="138" y="1687"/>
                  </a:cubicBezTo>
                  <a:cubicBezTo>
                    <a:pt x="128" y="1702"/>
                    <a:pt x="128" y="1702"/>
                    <a:pt x="128" y="1702"/>
                  </a:cubicBezTo>
                  <a:cubicBezTo>
                    <a:pt x="128" y="1737"/>
                    <a:pt x="128" y="1737"/>
                    <a:pt x="128" y="1737"/>
                  </a:cubicBezTo>
                  <a:cubicBezTo>
                    <a:pt x="0" y="2283"/>
                    <a:pt x="0" y="2283"/>
                    <a:pt x="0" y="2283"/>
                  </a:cubicBezTo>
                  <a:cubicBezTo>
                    <a:pt x="243" y="2339"/>
                    <a:pt x="712" y="2441"/>
                    <a:pt x="712" y="2441"/>
                  </a:cubicBezTo>
                  <a:cubicBezTo>
                    <a:pt x="1442" y="2581"/>
                    <a:pt x="1442" y="2581"/>
                    <a:pt x="1442" y="2581"/>
                  </a:cubicBezTo>
                  <a:cubicBezTo>
                    <a:pt x="1586" y="1776"/>
                    <a:pt x="1586" y="1776"/>
                    <a:pt x="1586" y="1776"/>
                  </a:cubicBezTo>
                  <a:cubicBezTo>
                    <a:pt x="1570" y="1760"/>
                    <a:pt x="1570" y="1760"/>
                    <a:pt x="1570" y="1760"/>
                  </a:cubicBezTo>
                  <a:cubicBezTo>
                    <a:pt x="1553" y="1745"/>
                    <a:pt x="1553" y="1745"/>
                    <a:pt x="1553" y="1745"/>
                  </a:cubicBezTo>
                  <a:cubicBezTo>
                    <a:pt x="1553" y="1735"/>
                    <a:pt x="1553" y="1735"/>
                    <a:pt x="1553" y="1735"/>
                  </a:cubicBezTo>
                  <a:cubicBezTo>
                    <a:pt x="1551" y="1712"/>
                    <a:pt x="1551" y="1712"/>
                    <a:pt x="1551" y="1712"/>
                  </a:cubicBezTo>
                  <a:cubicBezTo>
                    <a:pt x="1537" y="1692"/>
                    <a:pt x="1537" y="1692"/>
                    <a:pt x="1537" y="1692"/>
                  </a:cubicBezTo>
                  <a:cubicBezTo>
                    <a:pt x="1514" y="1671"/>
                    <a:pt x="1514" y="1671"/>
                    <a:pt x="1514" y="1671"/>
                  </a:cubicBezTo>
                  <a:cubicBezTo>
                    <a:pt x="1487" y="1671"/>
                    <a:pt x="1487" y="1671"/>
                    <a:pt x="1487" y="1671"/>
                  </a:cubicBezTo>
                  <a:cubicBezTo>
                    <a:pt x="1477" y="1706"/>
                    <a:pt x="1477" y="1706"/>
                    <a:pt x="1477" y="1706"/>
                  </a:cubicBezTo>
                  <a:cubicBezTo>
                    <a:pt x="1470" y="1727"/>
                    <a:pt x="1470" y="1727"/>
                    <a:pt x="1470" y="1727"/>
                  </a:cubicBezTo>
                  <a:cubicBezTo>
                    <a:pt x="1402" y="1714"/>
                    <a:pt x="1402" y="1714"/>
                    <a:pt x="1402" y="1714"/>
                  </a:cubicBezTo>
                  <a:cubicBezTo>
                    <a:pt x="1367" y="1702"/>
                    <a:pt x="1367" y="1702"/>
                    <a:pt x="1367" y="1702"/>
                  </a:cubicBezTo>
                  <a:cubicBezTo>
                    <a:pt x="1315" y="1696"/>
                    <a:pt x="1315" y="1696"/>
                    <a:pt x="1315" y="1696"/>
                  </a:cubicBezTo>
                  <a:cubicBezTo>
                    <a:pt x="1286" y="1698"/>
                    <a:pt x="1286" y="1698"/>
                    <a:pt x="1286" y="1698"/>
                  </a:cubicBezTo>
                  <a:cubicBezTo>
                    <a:pt x="1276" y="1712"/>
                    <a:pt x="1276" y="1712"/>
                    <a:pt x="1276" y="1712"/>
                  </a:cubicBezTo>
                  <a:cubicBezTo>
                    <a:pt x="1276" y="1727"/>
                    <a:pt x="1276" y="1727"/>
                    <a:pt x="1276" y="1727"/>
                  </a:cubicBezTo>
                  <a:cubicBezTo>
                    <a:pt x="1247" y="1710"/>
                    <a:pt x="1247" y="1710"/>
                    <a:pt x="1247" y="1710"/>
                  </a:cubicBezTo>
                  <a:cubicBezTo>
                    <a:pt x="1210" y="1689"/>
                    <a:pt x="1210" y="1689"/>
                    <a:pt x="1210" y="1689"/>
                  </a:cubicBezTo>
                  <a:cubicBezTo>
                    <a:pt x="1191" y="1687"/>
                    <a:pt x="1191" y="1687"/>
                    <a:pt x="1191" y="1687"/>
                  </a:cubicBezTo>
                  <a:cubicBezTo>
                    <a:pt x="1175" y="1692"/>
                    <a:pt x="1175" y="1692"/>
                    <a:pt x="1175" y="1692"/>
                  </a:cubicBezTo>
                  <a:cubicBezTo>
                    <a:pt x="1165" y="1712"/>
                    <a:pt x="1165" y="1712"/>
                    <a:pt x="1165" y="1712"/>
                  </a:cubicBezTo>
                  <a:cubicBezTo>
                    <a:pt x="1165" y="1723"/>
                    <a:pt x="1165" y="1723"/>
                    <a:pt x="1165" y="1723"/>
                  </a:cubicBezTo>
                  <a:cubicBezTo>
                    <a:pt x="1139" y="1723"/>
                    <a:pt x="1139" y="1723"/>
                    <a:pt x="1139" y="1723"/>
                  </a:cubicBezTo>
                  <a:cubicBezTo>
                    <a:pt x="1125" y="1700"/>
                    <a:pt x="1125" y="1700"/>
                    <a:pt x="1125" y="1700"/>
                  </a:cubicBezTo>
                  <a:cubicBezTo>
                    <a:pt x="1125" y="1677"/>
                    <a:pt x="1125" y="1677"/>
                    <a:pt x="1125" y="1677"/>
                  </a:cubicBezTo>
                  <a:cubicBezTo>
                    <a:pt x="1125" y="1648"/>
                    <a:pt x="1125" y="1648"/>
                    <a:pt x="1125" y="1648"/>
                  </a:cubicBezTo>
                  <a:cubicBezTo>
                    <a:pt x="1111" y="1607"/>
                    <a:pt x="1111" y="1607"/>
                    <a:pt x="1111" y="1607"/>
                  </a:cubicBezTo>
                  <a:cubicBezTo>
                    <a:pt x="1111" y="1565"/>
                    <a:pt x="1111" y="1565"/>
                    <a:pt x="1111" y="1565"/>
                  </a:cubicBezTo>
                  <a:cubicBezTo>
                    <a:pt x="1082" y="1565"/>
                    <a:pt x="1082" y="1565"/>
                    <a:pt x="1082" y="1565"/>
                  </a:cubicBezTo>
                  <a:cubicBezTo>
                    <a:pt x="1051" y="1543"/>
                    <a:pt x="1051" y="1543"/>
                    <a:pt x="1051" y="1543"/>
                  </a:cubicBezTo>
                  <a:cubicBezTo>
                    <a:pt x="1039" y="1526"/>
                    <a:pt x="1039" y="1526"/>
                    <a:pt x="1039" y="1526"/>
                  </a:cubicBezTo>
                  <a:cubicBezTo>
                    <a:pt x="1039" y="1512"/>
                    <a:pt x="1039" y="1512"/>
                    <a:pt x="1039" y="1512"/>
                  </a:cubicBezTo>
                  <a:cubicBezTo>
                    <a:pt x="1039" y="1477"/>
                    <a:pt x="1039" y="1477"/>
                    <a:pt x="1039" y="1477"/>
                  </a:cubicBezTo>
                  <a:cubicBezTo>
                    <a:pt x="1039" y="1439"/>
                    <a:pt x="1039" y="1439"/>
                    <a:pt x="1039" y="1439"/>
                  </a:cubicBezTo>
                  <a:cubicBezTo>
                    <a:pt x="1012" y="1415"/>
                    <a:pt x="1012" y="1415"/>
                    <a:pt x="1012" y="1415"/>
                  </a:cubicBezTo>
                  <a:cubicBezTo>
                    <a:pt x="1012" y="1394"/>
                    <a:pt x="1012" y="1394"/>
                    <a:pt x="1012" y="1394"/>
                  </a:cubicBezTo>
                  <a:cubicBezTo>
                    <a:pt x="1012" y="1351"/>
                    <a:pt x="1012" y="1351"/>
                    <a:pt x="1012" y="1351"/>
                  </a:cubicBezTo>
                  <a:cubicBezTo>
                    <a:pt x="999" y="1297"/>
                    <a:pt x="999" y="1297"/>
                    <a:pt x="999" y="1297"/>
                  </a:cubicBezTo>
                  <a:cubicBezTo>
                    <a:pt x="989" y="1268"/>
                    <a:pt x="989" y="1268"/>
                    <a:pt x="989" y="1268"/>
                  </a:cubicBezTo>
                  <a:cubicBezTo>
                    <a:pt x="979" y="1241"/>
                    <a:pt x="979" y="1241"/>
                    <a:pt x="979" y="1241"/>
                  </a:cubicBezTo>
                  <a:cubicBezTo>
                    <a:pt x="964" y="1241"/>
                    <a:pt x="964" y="1241"/>
                    <a:pt x="964" y="1241"/>
                  </a:cubicBezTo>
                  <a:cubicBezTo>
                    <a:pt x="939" y="1260"/>
                    <a:pt x="939" y="1260"/>
                    <a:pt x="939" y="1260"/>
                  </a:cubicBezTo>
                  <a:cubicBezTo>
                    <a:pt x="925" y="1258"/>
                    <a:pt x="925" y="1258"/>
                    <a:pt x="925" y="1258"/>
                  </a:cubicBezTo>
                  <a:cubicBezTo>
                    <a:pt x="906" y="1270"/>
                    <a:pt x="906" y="1270"/>
                    <a:pt x="906" y="1270"/>
                  </a:cubicBezTo>
                  <a:cubicBezTo>
                    <a:pt x="884" y="1287"/>
                    <a:pt x="884" y="1287"/>
                    <a:pt x="884" y="1287"/>
                  </a:cubicBezTo>
                  <a:cubicBezTo>
                    <a:pt x="869" y="1289"/>
                    <a:pt x="869" y="1289"/>
                    <a:pt x="869" y="1289"/>
                  </a:cubicBezTo>
                  <a:cubicBezTo>
                    <a:pt x="869" y="1270"/>
                    <a:pt x="869" y="1270"/>
                    <a:pt x="869" y="1270"/>
                  </a:cubicBezTo>
                  <a:cubicBezTo>
                    <a:pt x="842" y="1251"/>
                    <a:pt x="842" y="1251"/>
                    <a:pt x="842" y="1251"/>
                  </a:cubicBezTo>
                  <a:cubicBezTo>
                    <a:pt x="830" y="1241"/>
                    <a:pt x="830" y="1241"/>
                    <a:pt x="830" y="1241"/>
                  </a:cubicBezTo>
                  <a:cubicBezTo>
                    <a:pt x="851" y="1189"/>
                    <a:pt x="851" y="1189"/>
                    <a:pt x="851" y="1189"/>
                  </a:cubicBezTo>
                  <a:cubicBezTo>
                    <a:pt x="867" y="1165"/>
                    <a:pt x="867" y="1165"/>
                    <a:pt x="867" y="1165"/>
                  </a:cubicBezTo>
                  <a:cubicBezTo>
                    <a:pt x="890" y="1165"/>
                    <a:pt x="890" y="1165"/>
                    <a:pt x="890" y="1165"/>
                  </a:cubicBezTo>
                  <a:cubicBezTo>
                    <a:pt x="898" y="1150"/>
                    <a:pt x="898" y="1150"/>
                    <a:pt x="898" y="1150"/>
                  </a:cubicBezTo>
                  <a:cubicBezTo>
                    <a:pt x="884" y="1111"/>
                    <a:pt x="884" y="1111"/>
                    <a:pt x="884" y="1111"/>
                  </a:cubicBezTo>
                  <a:cubicBezTo>
                    <a:pt x="890" y="1065"/>
                    <a:pt x="890" y="1065"/>
                    <a:pt x="890" y="1065"/>
                  </a:cubicBezTo>
                  <a:cubicBezTo>
                    <a:pt x="908" y="1020"/>
                    <a:pt x="908" y="1020"/>
                    <a:pt x="908" y="1020"/>
                  </a:cubicBezTo>
                  <a:cubicBezTo>
                    <a:pt x="929" y="977"/>
                    <a:pt x="929" y="977"/>
                    <a:pt x="929" y="977"/>
                  </a:cubicBezTo>
                  <a:cubicBezTo>
                    <a:pt x="956" y="933"/>
                    <a:pt x="956" y="933"/>
                    <a:pt x="956" y="933"/>
                  </a:cubicBezTo>
                  <a:cubicBezTo>
                    <a:pt x="950" y="906"/>
                    <a:pt x="950" y="906"/>
                    <a:pt x="950" y="906"/>
                  </a:cubicBezTo>
                  <a:cubicBezTo>
                    <a:pt x="892" y="896"/>
                    <a:pt x="892" y="896"/>
                    <a:pt x="892" y="896"/>
                  </a:cubicBezTo>
                  <a:cubicBezTo>
                    <a:pt x="892" y="886"/>
                    <a:pt x="892" y="886"/>
                    <a:pt x="892" y="886"/>
                  </a:cubicBezTo>
                  <a:cubicBezTo>
                    <a:pt x="871" y="861"/>
                    <a:pt x="871" y="861"/>
                    <a:pt x="871" y="861"/>
                  </a:cubicBezTo>
                  <a:cubicBezTo>
                    <a:pt x="853" y="820"/>
                    <a:pt x="853" y="820"/>
                    <a:pt x="853" y="820"/>
                  </a:cubicBezTo>
                  <a:cubicBezTo>
                    <a:pt x="848" y="766"/>
                    <a:pt x="848" y="766"/>
                    <a:pt x="848" y="766"/>
                  </a:cubicBezTo>
                  <a:cubicBezTo>
                    <a:pt x="830" y="731"/>
                    <a:pt x="830" y="731"/>
                    <a:pt x="830" y="731"/>
                  </a:cubicBezTo>
                  <a:cubicBezTo>
                    <a:pt x="797" y="696"/>
                    <a:pt x="797" y="696"/>
                    <a:pt x="797" y="696"/>
                  </a:cubicBezTo>
                  <a:cubicBezTo>
                    <a:pt x="762" y="642"/>
                    <a:pt x="762" y="642"/>
                    <a:pt x="762" y="642"/>
                  </a:cubicBezTo>
                  <a:cubicBezTo>
                    <a:pt x="749" y="607"/>
                    <a:pt x="749" y="607"/>
                    <a:pt x="749" y="607"/>
                  </a:cubicBezTo>
                  <a:cubicBezTo>
                    <a:pt x="727" y="570"/>
                    <a:pt x="727" y="570"/>
                    <a:pt x="727" y="570"/>
                  </a:cubicBezTo>
                  <a:cubicBezTo>
                    <a:pt x="727" y="549"/>
                    <a:pt x="727" y="549"/>
                    <a:pt x="727" y="549"/>
                  </a:cubicBezTo>
                  <a:cubicBezTo>
                    <a:pt x="706" y="526"/>
                    <a:pt x="706" y="526"/>
                    <a:pt x="706" y="526"/>
                  </a:cubicBezTo>
                  <a:cubicBezTo>
                    <a:pt x="706" y="497"/>
                    <a:pt x="706" y="497"/>
                    <a:pt x="706" y="497"/>
                  </a:cubicBezTo>
                  <a:cubicBezTo>
                    <a:pt x="706" y="474"/>
                    <a:pt x="706" y="474"/>
                    <a:pt x="706" y="474"/>
                  </a:cubicBezTo>
                  <a:cubicBezTo>
                    <a:pt x="687" y="444"/>
                    <a:pt x="687" y="444"/>
                    <a:pt x="687" y="444"/>
                  </a:cubicBezTo>
                  <a:cubicBezTo>
                    <a:pt x="675" y="425"/>
                    <a:pt x="675" y="425"/>
                    <a:pt x="675" y="425"/>
                  </a:cubicBezTo>
                  <a:cubicBezTo>
                    <a:pt x="675" y="404"/>
                    <a:pt x="675" y="404"/>
                    <a:pt x="675" y="404"/>
                  </a:cubicBezTo>
                  <a:cubicBezTo>
                    <a:pt x="685" y="331"/>
                    <a:pt x="685" y="331"/>
                    <a:pt x="685" y="331"/>
                  </a:cubicBezTo>
                  <a:cubicBezTo>
                    <a:pt x="704" y="247"/>
                    <a:pt x="704" y="247"/>
                    <a:pt x="704" y="247"/>
                  </a:cubicBezTo>
                  <a:cubicBezTo>
                    <a:pt x="722" y="173"/>
                    <a:pt x="722" y="173"/>
                    <a:pt x="722" y="173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49" y="55"/>
                    <a:pt x="749" y="55"/>
                    <a:pt x="749" y="55"/>
                  </a:cubicBezTo>
                  <a:cubicBezTo>
                    <a:pt x="530" y="0"/>
                    <a:pt x="530" y="0"/>
                    <a:pt x="530" y="0"/>
                  </a:cubicBezTo>
                  <a:cubicBezTo>
                    <a:pt x="530" y="0"/>
                    <a:pt x="362" y="791"/>
                    <a:pt x="332" y="834"/>
                  </a:cubicBezTo>
                  <a:cubicBezTo>
                    <a:pt x="301" y="876"/>
                    <a:pt x="335" y="866"/>
                    <a:pt x="334" y="911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FCF51261-8CB3-718B-78F2-0704C74F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1919" y="4590634"/>
              <a:ext cx="1937956" cy="1246996"/>
            </a:xfrm>
            <a:custGeom>
              <a:avLst/>
              <a:gdLst>
                <a:gd name="T0" fmla="*/ 1278 w 2713"/>
                <a:gd name="T1" fmla="*/ 229 h 1745"/>
                <a:gd name="T2" fmla="*/ 60 w 2713"/>
                <a:gd name="T3" fmla="*/ 68 h 1745"/>
                <a:gd name="T4" fmla="*/ 29 w 2713"/>
                <a:gd name="T5" fmla="*/ 192 h 1745"/>
                <a:gd name="T6" fmla="*/ 0 w 2713"/>
                <a:gd name="T7" fmla="*/ 349 h 1745"/>
                <a:gd name="T8" fmla="*/ 12 w 2713"/>
                <a:gd name="T9" fmla="*/ 389 h 1745"/>
                <a:gd name="T10" fmla="*/ 31 w 2713"/>
                <a:gd name="T11" fmla="*/ 442 h 1745"/>
                <a:gd name="T12" fmla="*/ 52 w 2713"/>
                <a:gd name="T13" fmla="*/ 494 h 1745"/>
                <a:gd name="T14" fmla="*/ 74 w 2713"/>
                <a:gd name="T15" fmla="*/ 552 h 1745"/>
                <a:gd name="T16" fmla="*/ 122 w 2713"/>
                <a:gd name="T17" fmla="*/ 641 h 1745"/>
                <a:gd name="T18" fmla="*/ 173 w 2713"/>
                <a:gd name="T19" fmla="*/ 711 h 1745"/>
                <a:gd name="T20" fmla="*/ 196 w 2713"/>
                <a:gd name="T21" fmla="*/ 806 h 1745"/>
                <a:gd name="T22" fmla="*/ 217 w 2713"/>
                <a:gd name="T23" fmla="*/ 841 h 1745"/>
                <a:gd name="T24" fmla="*/ 281 w 2713"/>
                <a:gd name="T25" fmla="*/ 878 h 1745"/>
                <a:gd name="T26" fmla="*/ 233 w 2713"/>
                <a:gd name="T27" fmla="*/ 965 h 1745"/>
                <a:gd name="T28" fmla="*/ 209 w 2713"/>
                <a:gd name="T29" fmla="*/ 1056 h 1745"/>
                <a:gd name="T30" fmla="*/ 215 w 2713"/>
                <a:gd name="T31" fmla="*/ 1110 h 1745"/>
                <a:gd name="T32" fmla="*/ 176 w 2713"/>
                <a:gd name="T33" fmla="*/ 1134 h 1745"/>
                <a:gd name="T34" fmla="*/ 167 w 2713"/>
                <a:gd name="T35" fmla="*/ 1196 h 1745"/>
                <a:gd name="T36" fmla="*/ 194 w 2713"/>
                <a:gd name="T37" fmla="*/ 1234 h 1745"/>
                <a:gd name="T38" fmla="*/ 231 w 2713"/>
                <a:gd name="T39" fmla="*/ 1215 h 1745"/>
                <a:gd name="T40" fmla="*/ 264 w 2713"/>
                <a:gd name="T41" fmla="*/ 1205 h 1745"/>
                <a:gd name="T42" fmla="*/ 304 w 2713"/>
                <a:gd name="T43" fmla="*/ 1186 h 1745"/>
                <a:gd name="T44" fmla="*/ 324 w 2713"/>
                <a:gd name="T45" fmla="*/ 1242 h 1745"/>
                <a:gd name="T46" fmla="*/ 337 w 2713"/>
                <a:gd name="T47" fmla="*/ 1339 h 1745"/>
                <a:gd name="T48" fmla="*/ 364 w 2713"/>
                <a:gd name="T49" fmla="*/ 1384 h 1745"/>
                <a:gd name="T50" fmla="*/ 364 w 2713"/>
                <a:gd name="T51" fmla="*/ 1457 h 1745"/>
                <a:gd name="T52" fmla="*/ 376 w 2713"/>
                <a:gd name="T53" fmla="*/ 1488 h 1745"/>
                <a:gd name="T54" fmla="*/ 436 w 2713"/>
                <a:gd name="T55" fmla="*/ 1510 h 1745"/>
                <a:gd name="T56" fmla="*/ 450 w 2713"/>
                <a:gd name="T57" fmla="*/ 1593 h 1745"/>
                <a:gd name="T58" fmla="*/ 450 w 2713"/>
                <a:gd name="T59" fmla="*/ 1645 h 1745"/>
                <a:gd name="T60" fmla="*/ 490 w 2713"/>
                <a:gd name="T61" fmla="*/ 1668 h 1745"/>
                <a:gd name="T62" fmla="*/ 500 w 2713"/>
                <a:gd name="T63" fmla="*/ 1637 h 1745"/>
                <a:gd name="T64" fmla="*/ 535 w 2713"/>
                <a:gd name="T65" fmla="*/ 1634 h 1745"/>
                <a:gd name="T66" fmla="*/ 601 w 2713"/>
                <a:gd name="T67" fmla="*/ 1672 h 1745"/>
                <a:gd name="T68" fmla="*/ 611 w 2713"/>
                <a:gd name="T69" fmla="*/ 1643 h 1745"/>
                <a:gd name="T70" fmla="*/ 692 w 2713"/>
                <a:gd name="T71" fmla="*/ 1647 h 1745"/>
                <a:gd name="T72" fmla="*/ 795 w 2713"/>
                <a:gd name="T73" fmla="*/ 1672 h 1745"/>
                <a:gd name="T74" fmla="*/ 812 w 2713"/>
                <a:gd name="T75" fmla="*/ 1616 h 1745"/>
                <a:gd name="T76" fmla="*/ 862 w 2713"/>
                <a:gd name="T77" fmla="*/ 1637 h 1745"/>
                <a:gd name="T78" fmla="*/ 878 w 2713"/>
                <a:gd name="T79" fmla="*/ 1680 h 1745"/>
                <a:gd name="T80" fmla="*/ 895 w 2713"/>
                <a:gd name="T81" fmla="*/ 1705 h 1745"/>
                <a:gd name="T82" fmla="*/ 944 w 2713"/>
                <a:gd name="T83" fmla="*/ 1534 h 1745"/>
                <a:gd name="T84" fmla="*/ 2585 w 2713"/>
                <a:gd name="T85" fmla="*/ 1744 h 1745"/>
                <a:gd name="T86" fmla="*/ 2713 w 2713"/>
                <a:gd name="T87" fmla="*/ 415 h 1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13" h="1745">
                  <a:moveTo>
                    <a:pt x="2713" y="415"/>
                  </a:moveTo>
                  <a:cubicBezTo>
                    <a:pt x="2713" y="415"/>
                    <a:pt x="1683" y="290"/>
                    <a:pt x="1278" y="229"/>
                  </a:cubicBezTo>
                  <a:cubicBezTo>
                    <a:pt x="774" y="153"/>
                    <a:pt x="74" y="0"/>
                    <a:pt x="74" y="0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10" y="276"/>
                    <a:pt x="10" y="276"/>
                    <a:pt x="10" y="276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2" y="389"/>
                    <a:pt x="12" y="389"/>
                    <a:pt x="12" y="389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31" y="442"/>
                    <a:pt x="31" y="442"/>
                    <a:pt x="31" y="442"/>
                  </a:cubicBezTo>
                  <a:cubicBezTo>
                    <a:pt x="31" y="471"/>
                    <a:pt x="31" y="471"/>
                    <a:pt x="31" y="471"/>
                  </a:cubicBezTo>
                  <a:cubicBezTo>
                    <a:pt x="52" y="494"/>
                    <a:pt x="52" y="494"/>
                    <a:pt x="52" y="494"/>
                  </a:cubicBezTo>
                  <a:cubicBezTo>
                    <a:pt x="52" y="515"/>
                    <a:pt x="52" y="515"/>
                    <a:pt x="52" y="515"/>
                  </a:cubicBezTo>
                  <a:cubicBezTo>
                    <a:pt x="74" y="552"/>
                    <a:pt x="74" y="552"/>
                    <a:pt x="74" y="552"/>
                  </a:cubicBezTo>
                  <a:cubicBezTo>
                    <a:pt x="87" y="587"/>
                    <a:pt x="87" y="587"/>
                    <a:pt x="87" y="587"/>
                  </a:cubicBezTo>
                  <a:cubicBezTo>
                    <a:pt x="122" y="641"/>
                    <a:pt x="122" y="641"/>
                    <a:pt x="122" y="641"/>
                  </a:cubicBezTo>
                  <a:cubicBezTo>
                    <a:pt x="155" y="676"/>
                    <a:pt x="155" y="676"/>
                    <a:pt x="155" y="676"/>
                  </a:cubicBezTo>
                  <a:cubicBezTo>
                    <a:pt x="173" y="711"/>
                    <a:pt x="173" y="711"/>
                    <a:pt x="173" y="711"/>
                  </a:cubicBezTo>
                  <a:cubicBezTo>
                    <a:pt x="178" y="765"/>
                    <a:pt x="178" y="765"/>
                    <a:pt x="178" y="765"/>
                  </a:cubicBezTo>
                  <a:cubicBezTo>
                    <a:pt x="196" y="806"/>
                    <a:pt x="196" y="806"/>
                    <a:pt x="196" y="806"/>
                  </a:cubicBezTo>
                  <a:cubicBezTo>
                    <a:pt x="217" y="831"/>
                    <a:pt x="217" y="831"/>
                    <a:pt x="217" y="831"/>
                  </a:cubicBezTo>
                  <a:cubicBezTo>
                    <a:pt x="217" y="841"/>
                    <a:pt x="217" y="841"/>
                    <a:pt x="217" y="841"/>
                  </a:cubicBezTo>
                  <a:cubicBezTo>
                    <a:pt x="275" y="851"/>
                    <a:pt x="275" y="851"/>
                    <a:pt x="275" y="851"/>
                  </a:cubicBezTo>
                  <a:cubicBezTo>
                    <a:pt x="281" y="878"/>
                    <a:pt x="281" y="878"/>
                    <a:pt x="281" y="878"/>
                  </a:cubicBezTo>
                  <a:cubicBezTo>
                    <a:pt x="254" y="922"/>
                    <a:pt x="254" y="922"/>
                    <a:pt x="254" y="922"/>
                  </a:cubicBezTo>
                  <a:cubicBezTo>
                    <a:pt x="233" y="965"/>
                    <a:pt x="233" y="965"/>
                    <a:pt x="233" y="965"/>
                  </a:cubicBezTo>
                  <a:cubicBezTo>
                    <a:pt x="215" y="1010"/>
                    <a:pt x="215" y="1010"/>
                    <a:pt x="215" y="1010"/>
                  </a:cubicBezTo>
                  <a:cubicBezTo>
                    <a:pt x="209" y="1056"/>
                    <a:pt x="209" y="1056"/>
                    <a:pt x="209" y="1056"/>
                  </a:cubicBezTo>
                  <a:cubicBezTo>
                    <a:pt x="223" y="1095"/>
                    <a:pt x="223" y="1095"/>
                    <a:pt x="223" y="1095"/>
                  </a:cubicBezTo>
                  <a:cubicBezTo>
                    <a:pt x="215" y="1110"/>
                    <a:pt x="215" y="1110"/>
                    <a:pt x="215" y="1110"/>
                  </a:cubicBezTo>
                  <a:cubicBezTo>
                    <a:pt x="192" y="1110"/>
                    <a:pt x="192" y="1110"/>
                    <a:pt x="192" y="1110"/>
                  </a:cubicBezTo>
                  <a:cubicBezTo>
                    <a:pt x="176" y="1134"/>
                    <a:pt x="176" y="1134"/>
                    <a:pt x="176" y="1134"/>
                  </a:cubicBezTo>
                  <a:cubicBezTo>
                    <a:pt x="155" y="1186"/>
                    <a:pt x="155" y="1186"/>
                    <a:pt x="155" y="1186"/>
                  </a:cubicBezTo>
                  <a:cubicBezTo>
                    <a:pt x="167" y="1196"/>
                    <a:pt x="167" y="1196"/>
                    <a:pt x="167" y="1196"/>
                  </a:cubicBezTo>
                  <a:cubicBezTo>
                    <a:pt x="194" y="1215"/>
                    <a:pt x="194" y="1215"/>
                    <a:pt x="194" y="1215"/>
                  </a:cubicBezTo>
                  <a:cubicBezTo>
                    <a:pt x="194" y="1234"/>
                    <a:pt x="194" y="1234"/>
                    <a:pt x="194" y="1234"/>
                  </a:cubicBezTo>
                  <a:cubicBezTo>
                    <a:pt x="209" y="1232"/>
                    <a:pt x="209" y="1232"/>
                    <a:pt x="209" y="1232"/>
                  </a:cubicBezTo>
                  <a:cubicBezTo>
                    <a:pt x="231" y="1215"/>
                    <a:pt x="231" y="1215"/>
                    <a:pt x="231" y="1215"/>
                  </a:cubicBezTo>
                  <a:cubicBezTo>
                    <a:pt x="250" y="1203"/>
                    <a:pt x="250" y="1203"/>
                    <a:pt x="250" y="1203"/>
                  </a:cubicBezTo>
                  <a:cubicBezTo>
                    <a:pt x="264" y="1205"/>
                    <a:pt x="264" y="1205"/>
                    <a:pt x="264" y="1205"/>
                  </a:cubicBezTo>
                  <a:cubicBezTo>
                    <a:pt x="289" y="1186"/>
                    <a:pt x="289" y="1186"/>
                    <a:pt x="289" y="1186"/>
                  </a:cubicBezTo>
                  <a:cubicBezTo>
                    <a:pt x="304" y="1186"/>
                    <a:pt x="304" y="1186"/>
                    <a:pt x="304" y="1186"/>
                  </a:cubicBezTo>
                  <a:cubicBezTo>
                    <a:pt x="314" y="1213"/>
                    <a:pt x="314" y="1213"/>
                    <a:pt x="314" y="1213"/>
                  </a:cubicBezTo>
                  <a:cubicBezTo>
                    <a:pt x="324" y="1242"/>
                    <a:pt x="324" y="1242"/>
                    <a:pt x="324" y="1242"/>
                  </a:cubicBezTo>
                  <a:cubicBezTo>
                    <a:pt x="337" y="1296"/>
                    <a:pt x="337" y="1296"/>
                    <a:pt x="337" y="1296"/>
                  </a:cubicBezTo>
                  <a:cubicBezTo>
                    <a:pt x="337" y="1339"/>
                    <a:pt x="337" y="1339"/>
                    <a:pt x="337" y="1339"/>
                  </a:cubicBezTo>
                  <a:cubicBezTo>
                    <a:pt x="337" y="1360"/>
                    <a:pt x="337" y="1360"/>
                    <a:pt x="337" y="1360"/>
                  </a:cubicBezTo>
                  <a:cubicBezTo>
                    <a:pt x="364" y="1384"/>
                    <a:pt x="364" y="1384"/>
                    <a:pt x="364" y="1384"/>
                  </a:cubicBezTo>
                  <a:cubicBezTo>
                    <a:pt x="364" y="1422"/>
                    <a:pt x="364" y="1422"/>
                    <a:pt x="364" y="1422"/>
                  </a:cubicBezTo>
                  <a:cubicBezTo>
                    <a:pt x="364" y="1457"/>
                    <a:pt x="364" y="1457"/>
                    <a:pt x="364" y="1457"/>
                  </a:cubicBezTo>
                  <a:cubicBezTo>
                    <a:pt x="364" y="1471"/>
                    <a:pt x="364" y="1471"/>
                    <a:pt x="364" y="1471"/>
                  </a:cubicBezTo>
                  <a:cubicBezTo>
                    <a:pt x="376" y="1488"/>
                    <a:pt x="376" y="1488"/>
                    <a:pt x="376" y="1488"/>
                  </a:cubicBezTo>
                  <a:cubicBezTo>
                    <a:pt x="407" y="1510"/>
                    <a:pt x="407" y="1510"/>
                    <a:pt x="407" y="1510"/>
                  </a:cubicBezTo>
                  <a:cubicBezTo>
                    <a:pt x="436" y="1510"/>
                    <a:pt x="436" y="1510"/>
                    <a:pt x="436" y="1510"/>
                  </a:cubicBezTo>
                  <a:cubicBezTo>
                    <a:pt x="436" y="1552"/>
                    <a:pt x="436" y="1552"/>
                    <a:pt x="436" y="1552"/>
                  </a:cubicBezTo>
                  <a:cubicBezTo>
                    <a:pt x="450" y="1593"/>
                    <a:pt x="450" y="1593"/>
                    <a:pt x="450" y="1593"/>
                  </a:cubicBezTo>
                  <a:cubicBezTo>
                    <a:pt x="450" y="1622"/>
                    <a:pt x="450" y="1622"/>
                    <a:pt x="450" y="1622"/>
                  </a:cubicBezTo>
                  <a:cubicBezTo>
                    <a:pt x="450" y="1645"/>
                    <a:pt x="450" y="1645"/>
                    <a:pt x="450" y="1645"/>
                  </a:cubicBezTo>
                  <a:cubicBezTo>
                    <a:pt x="464" y="1668"/>
                    <a:pt x="464" y="1668"/>
                    <a:pt x="464" y="1668"/>
                  </a:cubicBezTo>
                  <a:cubicBezTo>
                    <a:pt x="490" y="1668"/>
                    <a:pt x="490" y="1668"/>
                    <a:pt x="490" y="1668"/>
                  </a:cubicBezTo>
                  <a:cubicBezTo>
                    <a:pt x="490" y="1657"/>
                    <a:pt x="490" y="1657"/>
                    <a:pt x="490" y="1657"/>
                  </a:cubicBezTo>
                  <a:cubicBezTo>
                    <a:pt x="500" y="1637"/>
                    <a:pt x="500" y="1637"/>
                    <a:pt x="500" y="1637"/>
                  </a:cubicBezTo>
                  <a:cubicBezTo>
                    <a:pt x="516" y="1632"/>
                    <a:pt x="516" y="1632"/>
                    <a:pt x="516" y="1632"/>
                  </a:cubicBezTo>
                  <a:cubicBezTo>
                    <a:pt x="535" y="1634"/>
                    <a:pt x="535" y="1634"/>
                    <a:pt x="535" y="1634"/>
                  </a:cubicBezTo>
                  <a:cubicBezTo>
                    <a:pt x="572" y="1655"/>
                    <a:pt x="572" y="1655"/>
                    <a:pt x="572" y="1655"/>
                  </a:cubicBezTo>
                  <a:cubicBezTo>
                    <a:pt x="601" y="1672"/>
                    <a:pt x="601" y="1672"/>
                    <a:pt x="601" y="1672"/>
                  </a:cubicBezTo>
                  <a:cubicBezTo>
                    <a:pt x="601" y="1657"/>
                    <a:pt x="601" y="1657"/>
                    <a:pt x="601" y="1657"/>
                  </a:cubicBezTo>
                  <a:cubicBezTo>
                    <a:pt x="611" y="1643"/>
                    <a:pt x="611" y="1643"/>
                    <a:pt x="611" y="1643"/>
                  </a:cubicBezTo>
                  <a:cubicBezTo>
                    <a:pt x="640" y="1641"/>
                    <a:pt x="640" y="1641"/>
                    <a:pt x="640" y="1641"/>
                  </a:cubicBezTo>
                  <a:cubicBezTo>
                    <a:pt x="692" y="1647"/>
                    <a:pt x="692" y="1647"/>
                    <a:pt x="692" y="1647"/>
                  </a:cubicBezTo>
                  <a:cubicBezTo>
                    <a:pt x="727" y="1659"/>
                    <a:pt x="727" y="1659"/>
                    <a:pt x="727" y="1659"/>
                  </a:cubicBezTo>
                  <a:cubicBezTo>
                    <a:pt x="795" y="1672"/>
                    <a:pt x="795" y="1672"/>
                    <a:pt x="795" y="1672"/>
                  </a:cubicBezTo>
                  <a:cubicBezTo>
                    <a:pt x="802" y="1651"/>
                    <a:pt x="802" y="1651"/>
                    <a:pt x="802" y="1651"/>
                  </a:cubicBezTo>
                  <a:cubicBezTo>
                    <a:pt x="812" y="1616"/>
                    <a:pt x="812" y="1616"/>
                    <a:pt x="812" y="1616"/>
                  </a:cubicBezTo>
                  <a:cubicBezTo>
                    <a:pt x="839" y="1616"/>
                    <a:pt x="839" y="1616"/>
                    <a:pt x="839" y="1616"/>
                  </a:cubicBezTo>
                  <a:cubicBezTo>
                    <a:pt x="862" y="1637"/>
                    <a:pt x="862" y="1637"/>
                    <a:pt x="862" y="1637"/>
                  </a:cubicBezTo>
                  <a:cubicBezTo>
                    <a:pt x="876" y="1657"/>
                    <a:pt x="876" y="1657"/>
                    <a:pt x="876" y="1657"/>
                  </a:cubicBezTo>
                  <a:cubicBezTo>
                    <a:pt x="878" y="1680"/>
                    <a:pt x="878" y="1680"/>
                    <a:pt x="878" y="1680"/>
                  </a:cubicBezTo>
                  <a:cubicBezTo>
                    <a:pt x="878" y="1690"/>
                    <a:pt x="878" y="1690"/>
                    <a:pt x="878" y="1690"/>
                  </a:cubicBezTo>
                  <a:cubicBezTo>
                    <a:pt x="895" y="1705"/>
                    <a:pt x="895" y="1705"/>
                    <a:pt x="895" y="1705"/>
                  </a:cubicBezTo>
                  <a:cubicBezTo>
                    <a:pt x="911" y="1721"/>
                    <a:pt x="911" y="1721"/>
                    <a:pt x="911" y="1721"/>
                  </a:cubicBezTo>
                  <a:cubicBezTo>
                    <a:pt x="944" y="1534"/>
                    <a:pt x="944" y="1534"/>
                    <a:pt x="944" y="1534"/>
                  </a:cubicBezTo>
                  <a:cubicBezTo>
                    <a:pt x="2582" y="1745"/>
                    <a:pt x="2582" y="1745"/>
                    <a:pt x="2582" y="1745"/>
                  </a:cubicBezTo>
                  <a:cubicBezTo>
                    <a:pt x="2585" y="1744"/>
                    <a:pt x="2585" y="1744"/>
                    <a:pt x="2585" y="1744"/>
                  </a:cubicBezTo>
                  <a:cubicBezTo>
                    <a:pt x="2616" y="1432"/>
                    <a:pt x="2616" y="1432"/>
                    <a:pt x="2616" y="1432"/>
                  </a:cubicBezTo>
                  <a:lnTo>
                    <a:pt x="2713" y="415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23F0919F-C87F-232D-6081-11E0605AC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1246" y="4745998"/>
              <a:ext cx="686871" cy="1087545"/>
            </a:xfrm>
            <a:custGeom>
              <a:avLst/>
              <a:gdLst>
                <a:gd name="T0" fmla="*/ 50 w 168"/>
                <a:gd name="T1" fmla="*/ 259 h 266"/>
                <a:gd name="T2" fmla="*/ 49 w 168"/>
                <a:gd name="T3" fmla="*/ 251 h 266"/>
                <a:gd name="T4" fmla="*/ 54 w 168"/>
                <a:gd name="T5" fmla="*/ 243 h 266"/>
                <a:gd name="T6" fmla="*/ 57 w 168"/>
                <a:gd name="T7" fmla="*/ 238 h 266"/>
                <a:gd name="T8" fmla="*/ 63 w 168"/>
                <a:gd name="T9" fmla="*/ 230 h 266"/>
                <a:gd name="T10" fmla="*/ 59 w 168"/>
                <a:gd name="T11" fmla="*/ 227 h 266"/>
                <a:gd name="T12" fmla="*/ 61 w 168"/>
                <a:gd name="T13" fmla="*/ 220 h 266"/>
                <a:gd name="T14" fmla="*/ 66 w 168"/>
                <a:gd name="T15" fmla="*/ 220 h 266"/>
                <a:gd name="T16" fmla="*/ 70 w 168"/>
                <a:gd name="T17" fmla="*/ 215 h 266"/>
                <a:gd name="T18" fmla="*/ 76 w 168"/>
                <a:gd name="T19" fmla="*/ 218 h 266"/>
                <a:gd name="T20" fmla="*/ 74 w 168"/>
                <a:gd name="T21" fmla="*/ 212 h 266"/>
                <a:gd name="T22" fmla="*/ 81 w 168"/>
                <a:gd name="T23" fmla="*/ 210 h 266"/>
                <a:gd name="T24" fmla="*/ 85 w 168"/>
                <a:gd name="T25" fmla="*/ 198 h 266"/>
                <a:gd name="T26" fmla="*/ 96 w 168"/>
                <a:gd name="T27" fmla="*/ 201 h 266"/>
                <a:gd name="T28" fmla="*/ 99 w 168"/>
                <a:gd name="T29" fmla="*/ 187 h 266"/>
                <a:gd name="T30" fmla="*/ 98 w 168"/>
                <a:gd name="T31" fmla="*/ 175 h 266"/>
                <a:gd name="T32" fmla="*/ 100 w 168"/>
                <a:gd name="T33" fmla="*/ 166 h 266"/>
                <a:gd name="T34" fmla="*/ 114 w 168"/>
                <a:gd name="T35" fmla="*/ 173 h 266"/>
                <a:gd name="T36" fmla="*/ 117 w 168"/>
                <a:gd name="T37" fmla="*/ 163 h 266"/>
                <a:gd name="T38" fmla="*/ 122 w 168"/>
                <a:gd name="T39" fmla="*/ 173 h 266"/>
                <a:gd name="T40" fmla="*/ 127 w 168"/>
                <a:gd name="T41" fmla="*/ 165 h 266"/>
                <a:gd name="T42" fmla="*/ 125 w 168"/>
                <a:gd name="T43" fmla="*/ 158 h 266"/>
                <a:gd name="T44" fmla="*/ 136 w 168"/>
                <a:gd name="T45" fmla="*/ 163 h 266"/>
                <a:gd name="T46" fmla="*/ 140 w 168"/>
                <a:gd name="T47" fmla="*/ 158 h 266"/>
                <a:gd name="T48" fmla="*/ 148 w 168"/>
                <a:gd name="T49" fmla="*/ 150 h 266"/>
                <a:gd name="T50" fmla="*/ 152 w 168"/>
                <a:gd name="T51" fmla="*/ 144 h 266"/>
                <a:gd name="T52" fmla="*/ 164 w 168"/>
                <a:gd name="T53" fmla="*/ 138 h 266"/>
                <a:gd name="T54" fmla="*/ 167 w 168"/>
                <a:gd name="T55" fmla="*/ 125 h 266"/>
                <a:gd name="T56" fmla="*/ 162 w 168"/>
                <a:gd name="T57" fmla="*/ 122 h 266"/>
                <a:gd name="T58" fmla="*/ 161 w 168"/>
                <a:gd name="T59" fmla="*/ 116 h 266"/>
                <a:gd name="T60" fmla="*/ 150 w 168"/>
                <a:gd name="T61" fmla="*/ 109 h 266"/>
                <a:gd name="T62" fmla="*/ 146 w 168"/>
                <a:gd name="T63" fmla="*/ 91 h 266"/>
                <a:gd name="T64" fmla="*/ 136 w 168"/>
                <a:gd name="T65" fmla="*/ 89 h 266"/>
                <a:gd name="T66" fmla="*/ 122 w 168"/>
                <a:gd name="T67" fmla="*/ 79 h 266"/>
                <a:gd name="T68" fmla="*/ 111 w 168"/>
                <a:gd name="T69" fmla="*/ 44 h 266"/>
                <a:gd name="T70" fmla="*/ 103 w 168"/>
                <a:gd name="T71" fmla="*/ 15 h 266"/>
                <a:gd name="T72" fmla="*/ 77 w 168"/>
                <a:gd name="T73" fmla="*/ 4 h 266"/>
                <a:gd name="T74" fmla="*/ 61 w 168"/>
                <a:gd name="T75" fmla="*/ 14 h 266"/>
                <a:gd name="T76" fmla="*/ 44 w 168"/>
                <a:gd name="T77" fmla="*/ 5 h 266"/>
                <a:gd name="T78" fmla="*/ 32 w 168"/>
                <a:gd name="T79" fmla="*/ 29 h 266"/>
                <a:gd name="T80" fmla="*/ 20 w 168"/>
                <a:gd name="T81" fmla="*/ 76 h 266"/>
                <a:gd name="T82" fmla="*/ 22 w 168"/>
                <a:gd name="T83" fmla="*/ 100 h 266"/>
                <a:gd name="T84" fmla="*/ 17 w 168"/>
                <a:gd name="T85" fmla="*/ 116 h 266"/>
                <a:gd name="T86" fmla="*/ 12 w 168"/>
                <a:gd name="T87" fmla="*/ 135 h 266"/>
                <a:gd name="T88" fmla="*/ 0 w 168"/>
                <a:gd name="T89" fmla="*/ 14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8" h="266">
                  <a:moveTo>
                    <a:pt x="47" y="266"/>
                  </a:moveTo>
                  <a:lnTo>
                    <a:pt x="47" y="264"/>
                  </a:lnTo>
                  <a:lnTo>
                    <a:pt x="50" y="259"/>
                  </a:lnTo>
                  <a:lnTo>
                    <a:pt x="50" y="258"/>
                  </a:lnTo>
                  <a:lnTo>
                    <a:pt x="49" y="253"/>
                  </a:lnTo>
                  <a:lnTo>
                    <a:pt x="49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3"/>
                  </a:lnTo>
                  <a:lnTo>
                    <a:pt x="56" y="241"/>
                  </a:lnTo>
                  <a:lnTo>
                    <a:pt x="56" y="238"/>
                  </a:lnTo>
                  <a:lnTo>
                    <a:pt x="57" y="238"/>
                  </a:lnTo>
                  <a:lnTo>
                    <a:pt x="60" y="236"/>
                  </a:lnTo>
                  <a:lnTo>
                    <a:pt x="63" y="236"/>
                  </a:lnTo>
                  <a:lnTo>
                    <a:pt x="63" y="230"/>
                  </a:lnTo>
                  <a:lnTo>
                    <a:pt x="60" y="229"/>
                  </a:lnTo>
                  <a:lnTo>
                    <a:pt x="59" y="229"/>
                  </a:lnTo>
                  <a:lnTo>
                    <a:pt x="59" y="227"/>
                  </a:lnTo>
                  <a:lnTo>
                    <a:pt x="59" y="226"/>
                  </a:lnTo>
                  <a:lnTo>
                    <a:pt x="61" y="222"/>
                  </a:lnTo>
                  <a:lnTo>
                    <a:pt x="61" y="220"/>
                  </a:lnTo>
                  <a:lnTo>
                    <a:pt x="63" y="217"/>
                  </a:lnTo>
                  <a:lnTo>
                    <a:pt x="66" y="219"/>
                  </a:lnTo>
                  <a:lnTo>
                    <a:pt x="66" y="220"/>
                  </a:lnTo>
                  <a:lnTo>
                    <a:pt x="68" y="219"/>
                  </a:lnTo>
                  <a:lnTo>
                    <a:pt x="70" y="217"/>
                  </a:lnTo>
                  <a:lnTo>
                    <a:pt x="70" y="215"/>
                  </a:lnTo>
                  <a:lnTo>
                    <a:pt x="72" y="216"/>
                  </a:lnTo>
                  <a:lnTo>
                    <a:pt x="74" y="218"/>
                  </a:lnTo>
                  <a:lnTo>
                    <a:pt x="76" y="218"/>
                  </a:lnTo>
                  <a:lnTo>
                    <a:pt x="76" y="215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2" y="209"/>
                  </a:lnTo>
                  <a:lnTo>
                    <a:pt x="78" y="209"/>
                  </a:lnTo>
                  <a:lnTo>
                    <a:pt x="81" y="210"/>
                  </a:lnTo>
                  <a:lnTo>
                    <a:pt x="85" y="209"/>
                  </a:lnTo>
                  <a:lnTo>
                    <a:pt x="86" y="204"/>
                  </a:lnTo>
                  <a:lnTo>
                    <a:pt x="85" y="198"/>
                  </a:lnTo>
                  <a:lnTo>
                    <a:pt x="88" y="198"/>
                  </a:lnTo>
                  <a:lnTo>
                    <a:pt x="93" y="202"/>
                  </a:lnTo>
                  <a:lnTo>
                    <a:pt x="96" y="201"/>
                  </a:lnTo>
                  <a:lnTo>
                    <a:pt x="99" y="198"/>
                  </a:lnTo>
                  <a:lnTo>
                    <a:pt x="100" y="192"/>
                  </a:lnTo>
                  <a:lnTo>
                    <a:pt x="99" y="187"/>
                  </a:lnTo>
                  <a:lnTo>
                    <a:pt x="100" y="183"/>
                  </a:lnTo>
                  <a:lnTo>
                    <a:pt x="100" y="179"/>
                  </a:lnTo>
                  <a:lnTo>
                    <a:pt x="98" y="175"/>
                  </a:lnTo>
                  <a:lnTo>
                    <a:pt x="99" y="172"/>
                  </a:lnTo>
                  <a:lnTo>
                    <a:pt x="100" y="169"/>
                  </a:lnTo>
                  <a:lnTo>
                    <a:pt x="100" y="166"/>
                  </a:lnTo>
                  <a:lnTo>
                    <a:pt x="104" y="171"/>
                  </a:lnTo>
                  <a:lnTo>
                    <a:pt x="107" y="174"/>
                  </a:lnTo>
                  <a:lnTo>
                    <a:pt x="114" y="173"/>
                  </a:lnTo>
                  <a:lnTo>
                    <a:pt x="114" y="171"/>
                  </a:lnTo>
                  <a:lnTo>
                    <a:pt x="114" y="166"/>
                  </a:lnTo>
                  <a:lnTo>
                    <a:pt x="117" y="163"/>
                  </a:lnTo>
                  <a:lnTo>
                    <a:pt x="121" y="165"/>
                  </a:lnTo>
                  <a:lnTo>
                    <a:pt x="122" y="169"/>
                  </a:lnTo>
                  <a:lnTo>
                    <a:pt x="122" y="173"/>
                  </a:lnTo>
                  <a:lnTo>
                    <a:pt x="125" y="172"/>
                  </a:lnTo>
                  <a:lnTo>
                    <a:pt x="129" y="168"/>
                  </a:lnTo>
                  <a:lnTo>
                    <a:pt x="127" y="165"/>
                  </a:lnTo>
                  <a:lnTo>
                    <a:pt x="124" y="162"/>
                  </a:lnTo>
                  <a:lnTo>
                    <a:pt x="124" y="159"/>
                  </a:lnTo>
                  <a:lnTo>
                    <a:pt x="125" y="158"/>
                  </a:lnTo>
                  <a:lnTo>
                    <a:pt x="129" y="162"/>
                  </a:lnTo>
                  <a:lnTo>
                    <a:pt x="133" y="165"/>
                  </a:lnTo>
                  <a:lnTo>
                    <a:pt x="136" y="163"/>
                  </a:lnTo>
                  <a:lnTo>
                    <a:pt x="135" y="158"/>
                  </a:lnTo>
                  <a:lnTo>
                    <a:pt x="136" y="158"/>
                  </a:lnTo>
                  <a:lnTo>
                    <a:pt x="140" y="158"/>
                  </a:lnTo>
                  <a:lnTo>
                    <a:pt x="140" y="150"/>
                  </a:lnTo>
                  <a:lnTo>
                    <a:pt x="144" y="150"/>
                  </a:lnTo>
                  <a:lnTo>
                    <a:pt x="148" y="150"/>
                  </a:lnTo>
                  <a:lnTo>
                    <a:pt x="150" y="148"/>
                  </a:lnTo>
                  <a:lnTo>
                    <a:pt x="150" y="144"/>
                  </a:lnTo>
                  <a:lnTo>
                    <a:pt x="152" y="144"/>
                  </a:lnTo>
                  <a:lnTo>
                    <a:pt x="155" y="142"/>
                  </a:lnTo>
                  <a:lnTo>
                    <a:pt x="158" y="138"/>
                  </a:lnTo>
                  <a:lnTo>
                    <a:pt x="164" y="138"/>
                  </a:lnTo>
                  <a:lnTo>
                    <a:pt x="166" y="136"/>
                  </a:lnTo>
                  <a:lnTo>
                    <a:pt x="168" y="128"/>
                  </a:lnTo>
                  <a:lnTo>
                    <a:pt x="167" y="125"/>
                  </a:lnTo>
                  <a:lnTo>
                    <a:pt x="165" y="125"/>
                  </a:lnTo>
                  <a:lnTo>
                    <a:pt x="163" y="125"/>
                  </a:lnTo>
                  <a:lnTo>
                    <a:pt x="162" y="122"/>
                  </a:lnTo>
                  <a:lnTo>
                    <a:pt x="164" y="119"/>
                  </a:lnTo>
                  <a:lnTo>
                    <a:pt x="164" y="118"/>
                  </a:lnTo>
                  <a:lnTo>
                    <a:pt x="161" y="116"/>
                  </a:lnTo>
                  <a:lnTo>
                    <a:pt x="158" y="109"/>
                  </a:lnTo>
                  <a:lnTo>
                    <a:pt x="153" y="109"/>
                  </a:lnTo>
                  <a:lnTo>
                    <a:pt x="150" y="109"/>
                  </a:lnTo>
                  <a:lnTo>
                    <a:pt x="147" y="103"/>
                  </a:lnTo>
                  <a:lnTo>
                    <a:pt x="146" y="96"/>
                  </a:lnTo>
                  <a:lnTo>
                    <a:pt x="146" y="91"/>
                  </a:lnTo>
                  <a:lnTo>
                    <a:pt x="144" y="86"/>
                  </a:lnTo>
                  <a:lnTo>
                    <a:pt x="140" y="88"/>
                  </a:lnTo>
                  <a:lnTo>
                    <a:pt x="136" y="89"/>
                  </a:lnTo>
                  <a:lnTo>
                    <a:pt x="131" y="90"/>
                  </a:lnTo>
                  <a:lnTo>
                    <a:pt x="125" y="87"/>
                  </a:lnTo>
                  <a:lnTo>
                    <a:pt x="122" y="79"/>
                  </a:lnTo>
                  <a:lnTo>
                    <a:pt x="119" y="69"/>
                  </a:lnTo>
                  <a:lnTo>
                    <a:pt x="114" y="56"/>
                  </a:lnTo>
                  <a:lnTo>
                    <a:pt x="111" y="44"/>
                  </a:lnTo>
                  <a:lnTo>
                    <a:pt x="108" y="36"/>
                  </a:lnTo>
                  <a:lnTo>
                    <a:pt x="106" y="25"/>
                  </a:lnTo>
                  <a:lnTo>
                    <a:pt x="103" y="15"/>
                  </a:lnTo>
                  <a:lnTo>
                    <a:pt x="100" y="11"/>
                  </a:lnTo>
                  <a:lnTo>
                    <a:pt x="81" y="0"/>
                  </a:lnTo>
                  <a:lnTo>
                    <a:pt x="77" y="4"/>
                  </a:lnTo>
                  <a:lnTo>
                    <a:pt x="72" y="9"/>
                  </a:lnTo>
                  <a:lnTo>
                    <a:pt x="65" y="15"/>
                  </a:lnTo>
                  <a:lnTo>
                    <a:pt x="61" y="14"/>
                  </a:lnTo>
                  <a:lnTo>
                    <a:pt x="56" y="12"/>
                  </a:lnTo>
                  <a:lnTo>
                    <a:pt x="50" y="9"/>
                  </a:lnTo>
                  <a:lnTo>
                    <a:pt x="44" y="5"/>
                  </a:lnTo>
                  <a:lnTo>
                    <a:pt x="42" y="5"/>
                  </a:lnTo>
                  <a:lnTo>
                    <a:pt x="39" y="10"/>
                  </a:lnTo>
                  <a:lnTo>
                    <a:pt x="32" y="29"/>
                  </a:lnTo>
                  <a:lnTo>
                    <a:pt x="30" y="46"/>
                  </a:lnTo>
                  <a:lnTo>
                    <a:pt x="22" y="64"/>
                  </a:lnTo>
                  <a:lnTo>
                    <a:pt x="20" y="76"/>
                  </a:lnTo>
                  <a:lnTo>
                    <a:pt x="17" y="90"/>
                  </a:lnTo>
                  <a:lnTo>
                    <a:pt x="20" y="98"/>
                  </a:lnTo>
                  <a:lnTo>
                    <a:pt x="22" y="100"/>
                  </a:lnTo>
                  <a:lnTo>
                    <a:pt x="21" y="104"/>
                  </a:lnTo>
                  <a:lnTo>
                    <a:pt x="17" y="108"/>
                  </a:lnTo>
                  <a:lnTo>
                    <a:pt x="17" y="116"/>
                  </a:lnTo>
                  <a:lnTo>
                    <a:pt x="15" y="123"/>
                  </a:lnTo>
                  <a:lnTo>
                    <a:pt x="15" y="133"/>
                  </a:lnTo>
                  <a:lnTo>
                    <a:pt x="12" y="135"/>
                  </a:lnTo>
                  <a:lnTo>
                    <a:pt x="12" y="143"/>
                  </a:lnTo>
                  <a:lnTo>
                    <a:pt x="2" y="142"/>
                  </a:lnTo>
                  <a:lnTo>
                    <a:pt x="0" y="146"/>
                  </a:lnTo>
                  <a:lnTo>
                    <a:pt x="35" y="253"/>
                  </a:lnTo>
                  <a:lnTo>
                    <a:pt x="47" y="26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F11F58B7-2D95-343A-1253-4F9B9586E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08832" y="5490108"/>
              <a:ext cx="1410539" cy="1042570"/>
            </a:xfrm>
            <a:custGeom>
              <a:avLst/>
              <a:gdLst>
                <a:gd name="T0" fmla="*/ 14 w 345"/>
                <a:gd name="T1" fmla="*/ 195 h 255"/>
                <a:gd name="T2" fmla="*/ 23 w 345"/>
                <a:gd name="T3" fmla="*/ 185 h 255"/>
                <a:gd name="T4" fmla="*/ 31 w 345"/>
                <a:gd name="T5" fmla="*/ 178 h 255"/>
                <a:gd name="T6" fmla="*/ 31 w 345"/>
                <a:gd name="T7" fmla="*/ 171 h 255"/>
                <a:gd name="T8" fmla="*/ 20 w 345"/>
                <a:gd name="T9" fmla="*/ 146 h 255"/>
                <a:gd name="T10" fmla="*/ 44 w 345"/>
                <a:gd name="T11" fmla="*/ 137 h 255"/>
                <a:gd name="T12" fmla="*/ 67 w 345"/>
                <a:gd name="T13" fmla="*/ 137 h 255"/>
                <a:gd name="T14" fmla="*/ 81 w 345"/>
                <a:gd name="T15" fmla="*/ 137 h 255"/>
                <a:gd name="T16" fmla="*/ 94 w 345"/>
                <a:gd name="T17" fmla="*/ 133 h 255"/>
                <a:gd name="T18" fmla="*/ 119 w 345"/>
                <a:gd name="T19" fmla="*/ 119 h 255"/>
                <a:gd name="T20" fmla="*/ 132 w 345"/>
                <a:gd name="T21" fmla="*/ 111 h 255"/>
                <a:gd name="T22" fmla="*/ 132 w 345"/>
                <a:gd name="T23" fmla="*/ 101 h 255"/>
                <a:gd name="T24" fmla="*/ 132 w 345"/>
                <a:gd name="T25" fmla="*/ 91 h 255"/>
                <a:gd name="T26" fmla="*/ 126 w 345"/>
                <a:gd name="T27" fmla="*/ 87 h 255"/>
                <a:gd name="T28" fmla="*/ 122 w 345"/>
                <a:gd name="T29" fmla="*/ 79 h 255"/>
                <a:gd name="T30" fmla="*/ 140 w 345"/>
                <a:gd name="T31" fmla="*/ 63 h 255"/>
                <a:gd name="T32" fmla="*/ 147 w 345"/>
                <a:gd name="T33" fmla="*/ 46 h 255"/>
                <a:gd name="T34" fmla="*/ 165 w 345"/>
                <a:gd name="T35" fmla="*/ 22 h 255"/>
                <a:gd name="T36" fmla="*/ 186 w 345"/>
                <a:gd name="T37" fmla="*/ 12 h 255"/>
                <a:gd name="T38" fmla="*/ 211 w 345"/>
                <a:gd name="T39" fmla="*/ 3 h 255"/>
                <a:gd name="T40" fmla="*/ 233 w 345"/>
                <a:gd name="T41" fmla="*/ 8 h 255"/>
                <a:gd name="T42" fmla="*/ 236 w 345"/>
                <a:gd name="T43" fmla="*/ 24 h 255"/>
                <a:gd name="T44" fmla="*/ 245 w 345"/>
                <a:gd name="T45" fmla="*/ 35 h 255"/>
                <a:gd name="T46" fmla="*/ 245 w 345"/>
                <a:gd name="T47" fmla="*/ 48 h 255"/>
                <a:gd name="T48" fmla="*/ 249 w 345"/>
                <a:gd name="T49" fmla="*/ 69 h 255"/>
                <a:gd name="T50" fmla="*/ 258 w 345"/>
                <a:gd name="T51" fmla="*/ 84 h 255"/>
                <a:gd name="T52" fmla="*/ 263 w 345"/>
                <a:gd name="T53" fmla="*/ 113 h 255"/>
                <a:gd name="T54" fmla="*/ 269 w 345"/>
                <a:gd name="T55" fmla="*/ 127 h 255"/>
                <a:gd name="T56" fmla="*/ 269 w 345"/>
                <a:gd name="T57" fmla="*/ 172 h 255"/>
                <a:gd name="T58" fmla="*/ 274 w 345"/>
                <a:gd name="T59" fmla="*/ 209 h 255"/>
                <a:gd name="T60" fmla="*/ 274 w 345"/>
                <a:gd name="T61" fmla="*/ 226 h 255"/>
                <a:gd name="T62" fmla="*/ 266 w 345"/>
                <a:gd name="T63" fmla="*/ 244 h 255"/>
                <a:gd name="T64" fmla="*/ 283 w 345"/>
                <a:gd name="T65" fmla="*/ 238 h 255"/>
                <a:gd name="T66" fmla="*/ 295 w 345"/>
                <a:gd name="T67" fmla="*/ 229 h 255"/>
                <a:gd name="T68" fmla="*/ 310 w 345"/>
                <a:gd name="T69" fmla="*/ 226 h 255"/>
                <a:gd name="T70" fmla="*/ 321 w 345"/>
                <a:gd name="T71" fmla="*/ 219 h 255"/>
                <a:gd name="T72" fmla="*/ 321 w 345"/>
                <a:gd name="T73" fmla="*/ 225 h 255"/>
                <a:gd name="T74" fmla="*/ 334 w 345"/>
                <a:gd name="T75" fmla="*/ 217 h 255"/>
                <a:gd name="T76" fmla="*/ 343 w 345"/>
                <a:gd name="T77" fmla="*/ 212 h 255"/>
                <a:gd name="T78" fmla="*/ 334 w 345"/>
                <a:gd name="T79" fmla="*/ 225 h 255"/>
                <a:gd name="T80" fmla="*/ 313 w 345"/>
                <a:gd name="T81" fmla="*/ 236 h 255"/>
                <a:gd name="T82" fmla="*/ 295 w 345"/>
                <a:gd name="T83" fmla="*/ 248 h 255"/>
                <a:gd name="T84" fmla="*/ 271 w 345"/>
                <a:gd name="T85" fmla="*/ 255 h 255"/>
                <a:gd name="T86" fmla="*/ 261 w 345"/>
                <a:gd name="T87" fmla="*/ 244 h 255"/>
                <a:gd name="T88" fmla="*/ 258 w 345"/>
                <a:gd name="T89" fmla="*/ 235 h 255"/>
                <a:gd name="T90" fmla="*/ 220 w 345"/>
                <a:gd name="T91" fmla="*/ 226 h 255"/>
                <a:gd name="T92" fmla="*/ 220 w 345"/>
                <a:gd name="T93" fmla="*/ 217 h 255"/>
                <a:gd name="T94" fmla="*/ 212 w 345"/>
                <a:gd name="T95" fmla="*/ 214 h 255"/>
                <a:gd name="T96" fmla="*/ 200 w 345"/>
                <a:gd name="T97" fmla="*/ 198 h 255"/>
                <a:gd name="T98" fmla="*/ 3 w 345"/>
                <a:gd name="T99" fmla="*/ 22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5" h="255">
                  <a:moveTo>
                    <a:pt x="0" y="209"/>
                  </a:moveTo>
                  <a:lnTo>
                    <a:pt x="14" y="195"/>
                  </a:lnTo>
                  <a:lnTo>
                    <a:pt x="18" y="190"/>
                  </a:lnTo>
                  <a:lnTo>
                    <a:pt x="23" y="185"/>
                  </a:lnTo>
                  <a:lnTo>
                    <a:pt x="25" y="182"/>
                  </a:lnTo>
                  <a:lnTo>
                    <a:pt x="31" y="178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5" y="155"/>
                  </a:lnTo>
                  <a:lnTo>
                    <a:pt x="20" y="146"/>
                  </a:lnTo>
                  <a:lnTo>
                    <a:pt x="25" y="141"/>
                  </a:lnTo>
                  <a:lnTo>
                    <a:pt x="44" y="137"/>
                  </a:lnTo>
                  <a:lnTo>
                    <a:pt x="54" y="137"/>
                  </a:lnTo>
                  <a:lnTo>
                    <a:pt x="67" y="137"/>
                  </a:lnTo>
                  <a:lnTo>
                    <a:pt x="75" y="137"/>
                  </a:lnTo>
                  <a:lnTo>
                    <a:pt x="81" y="137"/>
                  </a:lnTo>
                  <a:lnTo>
                    <a:pt x="91" y="133"/>
                  </a:lnTo>
                  <a:lnTo>
                    <a:pt x="94" y="133"/>
                  </a:lnTo>
                  <a:lnTo>
                    <a:pt x="109" y="129"/>
                  </a:lnTo>
                  <a:lnTo>
                    <a:pt x="119" y="119"/>
                  </a:lnTo>
                  <a:lnTo>
                    <a:pt x="127" y="114"/>
                  </a:lnTo>
                  <a:lnTo>
                    <a:pt x="132" y="111"/>
                  </a:lnTo>
                  <a:lnTo>
                    <a:pt x="132" y="107"/>
                  </a:lnTo>
                  <a:lnTo>
                    <a:pt x="132" y="101"/>
                  </a:lnTo>
                  <a:lnTo>
                    <a:pt x="128" y="94"/>
                  </a:lnTo>
                  <a:lnTo>
                    <a:pt x="132" y="91"/>
                  </a:lnTo>
                  <a:lnTo>
                    <a:pt x="134" y="84"/>
                  </a:lnTo>
                  <a:lnTo>
                    <a:pt x="126" y="87"/>
                  </a:lnTo>
                  <a:lnTo>
                    <a:pt x="124" y="84"/>
                  </a:lnTo>
                  <a:lnTo>
                    <a:pt x="122" y="79"/>
                  </a:lnTo>
                  <a:lnTo>
                    <a:pt x="129" y="74"/>
                  </a:lnTo>
                  <a:lnTo>
                    <a:pt x="140" y="63"/>
                  </a:lnTo>
                  <a:lnTo>
                    <a:pt x="144" y="54"/>
                  </a:lnTo>
                  <a:lnTo>
                    <a:pt x="147" y="46"/>
                  </a:lnTo>
                  <a:lnTo>
                    <a:pt x="157" y="34"/>
                  </a:lnTo>
                  <a:lnTo>
                    <a:pt x="165" y="22"/>
                  </a:lnTo>
                  <a:lnTo>
                    <a:pt x="176" y="14"/>
                  </a:lnTo>
                  <a:lnTo>
                    <a:pt x="186" y="12"/>
                  </a:lnTo>
                  <a:lnTo>
                    <a:pt x="201" y="7"/>
                  </a:lnTo>
                  <a:lnTo>
                    <a:pt x="211" y="3"/>
                  </a:lnTo>
                  <a:lnTo>
                    <a:pt x="233" y="0"/>
                  </a:lnTo>
                  <a:lnTo>
                    <a:pt x="233" y="8"/>
                  </a:lnTo>
                  <a:lnTo>
                    <a:pt x="233" y="15"/>
                  </a:lnTo>
                  <a:lnTo>
                    <a:pt x="236" y="24"/>
                  </a:lnTo>
                  <a:lnTo>
                    <a:pt x="240" y="34"/>
                  </a:lnTo>
                  <a:lnTo>
                    <a:pt x="245" y="35"/>
                  </a:lnTo>
                  <a:lnTo>
                    <a:pt x="249" y="46"/>
                  </a:lnTo>
                  <a:lnTo>
                    <a:pt x="245" y="48"/>
                  </a:lnTo>
                  <a:lnTo>
                    <a:pt x="243" y="58"/>
                  </a:lnTo>
                  <a:lnTo>
                    <a:pt x="249" y="69"/>
                  </a:lnTo>
                  <a:lnTo>
                    <a:pt x="253" y="81"/>
                  </a:lnTo>
                  <a:lnTo>
                    <a:pt x="258" y="84"/>
                  </a:lnTo>
                  <a:lnTo>
                    <a:pt x="261" y="100"/>
                  </a:lnTo>
                  <a:lnTo>
                    <a:pt x="263" y="113"/>
                  </a:lnTo>
                  <a:lnTo>
                    <a:pt x="269" y="126"/>
                  </a:lnTo>
                  <a:lnTo>
                    <a:pt x="269" y="127"/>
                  </a:lnTo>
                  <a:lnTo>
                    <a:pt x="269" y="146"/>
                  </a:lnTo>
                  <a:lnTo>
                    <a:pt x="269" y="172"/>
                  </a:lnTo>
                  <a:lnTo>
                    <a:pt x="274" y="199"/>
                  </a:lnTo>
                  <a:lnTo>
                    <a:pt x="274" y="209"/>
                  </a:lnTo>
                  <a:lnTo>
                    <a:pt x="281" y="217"/>
                  </a:lnTo>
                  <a:lnTo>
                    <a:pt x="274" y="226"/>
                  </a:lnTo>
                  <a:lnTo>
                    <a:pt x="276" y="231"/>
                  </a:lnTo>
                  <a:lnTo>
                    <a:pt x="266" y="244"/>
                  </a:lnTo>
                  <a:lnTo>
                    <a:pt x="275" y="241"/>
                  </a:lnTo>
                  <a:lnTo>
                    <a:pt x="283" y="238"/>
                  </a:lnTo>
                  <a:lnTo>
                    <a:pt x="291" y="232"/>
                  </a:lnTo>
                  <a:lnTo>
                    <a:pt x="295" y="229"/>
                  </a:lnTo>
                  <a:lnTo>
                    <a:pt x="303" y="227"/>
                  </a:lnTo>
                  <a:lnTo>
                    <a:pt x="310" y="226"/>
                  </a:lnTo>
                  <a:lnTo>
                    <a:pt x="313" y="224"/>
                  </a:lnTo>
                  <a:lnTo>
                    <a:pt x="321" y="219"/>
                  </a:lnTo>
                  <a:lnTo>
                    <a:pt x="329" y="211"/>
                  </a:lnTo>
                  <a:lnTo>
                    <a:pt x="321" y="225"/>
                  </a:lnTo>
                  <a:lnTo>
                    <a:pt x="329" y="222"/>
                  </a:lnTo>
                  <a:lnTo>
                    <a:pt x="334" y="217"/>
                  </a:lnTo>
                  <a:lnTo>
                    <a:pt x="337" y="215"/>
                  </a:lnTo>
                  <a:lnTo>
                    <a:pt x="343" y="212"/>
                  </a:lnTo>
                  <a:lnTo>
                    <a:pt x="345" y="212"/>
                  </a:lnTo>
                  <a:lnTo>
                    <a:pt x="334" y="225"/>
                  </a:lnTo>
                  <a:lnTo>
                    <a:pt x="321" y="233"/>
                  </a:lnTo>
                  <a:lnTo>
                    <a:pt x="313" y="236"/>
                  </a:lnTo>
                  <a:lnTo>
                    <a:pt x="306" y="244"/>
                  </a:lnTo>
                  <a:lnTo>
                    <a:pt x="295" y="248"/>
                  </a:lnTo>
                  <a:lnTo>
                    <a:pt x="281" y="251"/>
                  </a:lnTo>
                  <a:lnTo>
                    <a:pt x="271" y="255"/>
                  </a:lnTo>
                  <a:lnTo>
                    <a:pt x="263" y="251"/>
                  </a:lnTo>
                  <a:lnTo>
                    <a:pt x="261" y="244"/>
                  </a:lnTo>
                  <a:lnTo>
                    <a:pt x="261" y="239"/>
                  </a:lnTo>
                  <a:lnTo>
                    <a:pt x="258" y="235"/>
                  </a:lnTo>
                  <a:lnTo>
                    <a:pt x="240" y="230"/>
                  </a:lnTo>
                  <a:lnTo>
                    <a:pt x="220" y="226"/>
                  </a:lnTo>
                  <a:lnTo>
                    <a:pt x="224" y="219"/>
                  </a:lnTo>
                  <a:lnTo>
                    <a:pt x="220" y="217"/>
                  </a:lnTo>
                  <a:lnTo>
                    <a:pt x="216" y="216"/>
                  </a:lnTo>
                  <a:lnTo>
                    <a:pt x="212" y="214"/>
                  </a:lnTo>
                  <a:lnTo>
                    <a:pt x="206" y="204"/>
                  </a:lnTo>
                  <a:lnTo>
                    <a:pt x="200" y="198"/>
                  </a:lnTo>
                  <a:lnTo>
                    <a:pt x="189" y="190"/>
                  </a:lnTo>
                  <a:lnTo>
                    <a:pt x="3" y="223"/>
                  </a:lnTo>
                  <a:lnTo>
                    <a:pt x="0" y="209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CD7C2CED-9265-EEA4-5C43-914CCA0FD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61457" y="5416514"/>
              <a:ext cx="327081" cy="592834"/>
            </a:xfrm>
            <a:custGeom>
              <a:avLst/>
              <a:gdLst>
                <a:gd name="T0" fmla="*/ 0 w 80"/>
                <a:gd name="T1" fmla="*/ 33 h 145"/>
                <a:gd name="T2" fmla="*/ 3 w 80"/>
                <a:gd name="T3" fmla="*/ 42 h 145"/>
                <a:gd name="T4" fmla="*/ 7 w 80"/>
                <a:gd name="T5" fmla="*/ 52 h 145"/>
                <a:gd name="T6" fmla="*/ 12 w 80"/>
                <a:gd name="T7" fmla="*/ 53 h 145"/>
                <a:gd name="T8" fmla="*/ 16 w 80"/>
                <a:gd name="T9" fmla="*/ 64 h 145"/>
                <a:gd name="T10" fmla="*/ 12 w 80"/>
                <a:gd name="T11" fmla="*/ 66 h 145"/>
                <a:gd name="T12" fmla="*/ 10 w 80"/>
                <a:gd name="T13" fmla="*/ 76 h 145"/>
                <a:gd name="T14" fmla="*/ 16 w 80"/>
                <a:gd name="T15" fmla="*/ 87 h 145"/>
                <a:gd name="T16" fmla="*/ 20 w 80"/>
                <a:gd name="T17" fmla="*/ 99 h 145"/>
                <a:gd name="T18" fmla="*/ 25 w 80"/>
                <a:gd name="T19" fmla="*/ 102 h 145"/>
                <a:gd name="T20" fmla="*/ 28 w 80"/>
                <a:gd name="T21" fmla="*/ 118 h 145"/>
                <a:gd name="T22" fmla="*/ 30 w 80"/>
                <a:gd name="T23" fmla="*/ 131 h 145"/>
                <a:gd name="T24" fmla="*/ 36 w 80"/>
                <a:gd name="T25" fmla="*/ 144 h 145"/>
                <a:gd name="T26" fmla="*/ 36 w 80"/>
                <a:gd name="T27" fmla="*/ 145 h 145"/>
                <a:gd name="T28" fmla="*/ 68 w 80"/>
                <a:gd name="T29" fmla="*/ 141 h 145"/>
                <a:gd name="T30" fmla="*/ 64 w 80"/>
                <a:gd name="T31" fmla="*/ 131 h 145"/>
                <a:gd name="T32" fmla="*/ 66 w 80"/>
                <a:gd name="T33" fmla="*/ 118 h 145"/>
                <a:gd name="T34" fmla="*/ 64 w 80"/>
                <a:gd name="T35" fmla="*/ 102 h 145"/>
                <a:gd name="T36" fmla="*/ 62 w 80"/>
                <a:gd name="T37" fmla="*/ 87 h 145"/>
                <a:gd name="T38" fmla="*/ 67 w 80"/>
                <a:gd name="T39" fmla="*/ 65 h 145"/>
                <a:gd name="T40" fmla="*/ 68 w 80"/>
                <a:gd name="T41" fmla="*/ 47 h 145"/>
                <a:gd name="T42" fmla="*/ 80 w 80"/>
                <a:gd name="T43" fmla="*/ 36 h 145"/>
                <a:gd name="T44" fmla="*/ 80 w 80"/>
                <a:gd name="T45" fmla="*/ 31 h 145"/>
                <a:gd name="T46" fmla="*/ 76 w 80"/>
                <a:gd name="T47" fmla="*/ 26 h 145"/>
                <a:gd name="T48" fmla="*/ 76 w 80"/>
                <a:gd name="T49" fmla="*/ 18 h 145"/>
                <a:gd name="T50" fmla="*/ 76 w 80"/>
                <a:gd name="T51" fmla="*/ 6 h 145"/>
                <a:gd name="T52" fmla="*/ 72 w 80"/>
                <a:gd name="T53" fmla="*/ 0 h 145"/>
                <a:gd name="T54" fmla="*/ 61 w 80"/>
                <a:gd name="T55" fmla="*/ 4 h 145"/>
                <a:gd name="T56" fmla="*/ 51 w 80"/>
                <a:gd name="T57" fmla="*/ 7 h 145"/>
                <a:gd name="T58" fmla="*/ 31 w 80"/>
                <a:gd name="T59" fmla="*/ 11 h 145"/>
                <a:gd name="T60" fmla="*/ 21 w 80"/>
                <a:gd name="T61" fmla="*/ 12 h 145"/>
                <a:gd name="T62" fmla="*/ 8 w 80"/>
                <a:gd name="T63" fmla="*/ 18 h 145"/>
                <a:gd name="T64" fmla="*/ 0 w 80"/>
                <a:gd name="T65" fmla="*/ 18 h 145"/>
                <a:gd name="T66" fmla="*/ 0 w 80"/>
                <a:gd name="T67" fmla="*/ 26 h 145"/>
                <a:gd name="T68" fmla="*/ 0 w 80"/>
                <a:gd name="T69" fmla="*/ 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45">
                  <a:moveTo>
                    <a:pt x="0" y="33"/>
                  </a:moveTo>
                  <a:lnTo>
                    <a:pt x="3" y="42"/>
                  </a:lnTo>
                  <a:lnTo>
                    <a:pt x="7" y="52"/>
                  </a:lnTo>
                  <a:lnTo>
                    <a:pt x="12" y="53"/>
                  </a:lnTo>
                  <a:lnTo>
                    <a:pt x="16" y="64"/>
                  </a:lnTo>
                  <a:lnTo>
                    <a:pt x="12" y="66"/>
                  </a:lnTo>
                  <a:lnTo>
                    <a:pt x="10" y="76"/>
                  </a:lnTo>
                  <a:lnTo>
                    <a:pt x="16" y="87"/>
                  </a:lnTo>
                  <a:lnTo>
                    <a:pt x="20" y="99"/>
                  </a:lnTo>
                  <a:lnTo>
                    <a:pt x="25" y="102"/>
                  </a:lnTo>
                  <a:lnTo>
                    <a:pt x="28" y="118"/>
                  </a:lnTo>
                  <a:lnTo>
                    <a:pt x="30" y="131"/>
                  </a:lnTo>
                  <a:lnTo>
                    <a:pt x="36" y="144"/>
                  </a:lnTo>
                  <a:lnTo>
                    <a:pt x="36" y="145"/>
                  </a:lnTo>
                  <a:lnTo>
                    <a:pt x="68" y="141"/>
                  </a:lnTo>
                  <a:lnTo>
                    <a:pt x="64" y="131"/>
                  </a:lnTo>
                  <a:lnTo>
                    <a:pt x="66" y="118"/>
                  </a:lnTo>
                  <a:lnTo>
                    <a:pt x="64" y="102"/>
                  </a:lnTo>
                  <a:lnTo>
                    <a:pt x="62" y="87"/>
                  </a:lnTo>
                  <a:lnTo>
                    <a:pt x="67" y="65"/>
                  </a:lnTo>
                  <a:lnTo>
                    <a:pt x="68" y="47"/>
                  </a:lnTo>
                  <a:lnTo>
                    <a:pt x="80" y="36"/>
                  </a:lnTo>
                  <a:lnTo>
                    <a:pt x="80" y="31"/>
                  </a:lnTo>
                  <a:lnTo>
                    <a:pt x="76" y="26"/>
                  </a:lnTo>
                  <a:lnTo>
                    <a:pt x="76" y="18"/>
                  </a:lnTo>
                  <a:lnTo>
                    <a:pt x="76" y="6"/>
                  </a:lnTo>
                  <a:lnTo>
                    <a:pt x="72" y="0"/>
                  </a:lnTo>
                  <a:lnTo>
                    <a:pt x="61" y="4"/>
                  </a:lnTo>
                  <a:lnTo>
                    <a:pt x="51" y="7"/>
                  </a:lnTo>
                  <a:lnTo>
                    <a:pt x="31" y="11"/>
                  </a:lnTo>
                  <a:lnTo>
                    <a:pt x="21" y="12"/>
                  </a:lnTo>
                  <a:lnTo>
                    <a:pt x="8" y="18"/>
                  </a:lnTo>
                  <a:lnTo>
                    <a:pt x="0" y="18"/>
                  </a:lnTo>
                  <a:lnTo>
                    <a:pt x="0" y="26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FCC6A390-93CE-4922-2C20-EA4ECE922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14945" y="5342921"/>
              <a:ext cx="294373" cy="650073"/>
            </a:xfrm>
            <a:custGeom>
              <a:avLst/>
              <a:gdLst>
                <a:gd name="T0" fmla="*/ 26 w 72"/>
                <a:gd name="T1" fmla="*/ 0 h 159"/>
                <a:gd name="T2" fmla="*/ 20 w 72"/>
                <a:gd name="T3" fmla="*/ 2 h 159"/>
                <a:gd name="T4" fmla="*/ 14 w 72"/>
                <a:gd name="T5" fmla="*/ 2 h 159"/>
                <a:gd name="T6" fmla="*/ 14 w 72"/>
                <a:gd name="T7" fmla="*/ 9 h 159"/>
                <a:gd name="T8" fmla="*/ 12 w 72"/>
                <a:gd name="T9" fmla="*/ 14 h 159"/>
                <a:gd name="T10" fmla="*/ 10 w 72"/>
                <a:gd name="T11" fmla="*/ 18 h 159"/>
                <a:gd name="T12" fmla="*/ 14 w 72"/>
                <a:gd name="T13" fmla="*/ 24 h 159"/>
                <a:gd name="T14" fmla="*/ 14 w 72"/>
                <a:gd name="T15" fmla="*/ 36 h 159"/>
                <a:gd name="T16" fmla="*/ 14 w 72"/>
                <a:gd name="T17" fmla="*/ 44 h 159"/>
                <a:gd name="T18" fmla="*/ 18 w 72"/>
                <a:gd name="T19" fmla="*/ 49 h 159"/>
                <a:gd name="T20" fmla="*/ 18 w 72"/>
                <a:gd name="T21" fmla="*/ 54 h 159"/>
                <a:gd name="T22" fmla="*/ 6 w 72"/>
                <a:gd name="T23" fmla="*/ 65 h 159"/>
                <a:gd name="T24" fmla="*/ 5 w 72"/>
                <a:gd name="T25" fmla="*/ 83 h 159"/>
                <a:gd name="T26" fmla="*/ 0 w 72"/>
                <a:gd name="T27" fmla="*/ 105 h 159"/>
                <a:gd name="T28" fmla="*/ 2 w 72"/>
                <a:gd name="T29" fmla="*/ 120 h 159"/>
                <a:gd name="T30" fmla="*/ 4 w 72"/>
                <a:gd name="T31" fmla="*/ 136 h 159"/>
                <a:gd name="T32" fmla="*/ 2 w 72"/>
                <a:gd name="T33" fmla="*/ 149 h 159"/>
                <a:gd name="T34" fmla="*/ 6 w 72"/>
                <a:gd name="T35" fmla="*/ 159 h 159"/>
                <a:gd name="T36" fmla="*/ 58 w 72"/>
                <a:gd name="T37" fmla="*/ 147 h 159"/>
                <a:gd name="T38" fmla="*/ 61 w 72"/>
                <a:gd name="T39" fmla="*/ 138 h 159"/>
                <a:gd name="T40" fmla="*/ 71 w 72"/>
                <a:gd name="T41" fmla="*/ 134 h 159"/>
                <a:gd name="T42" fmla="*/ 70 w 72"/>
                <a:gd name="T43" fmla="*/ 131 h 159"/>
                <a:gd name="T44" fmla="*/ 72 w 72"/>
                <a:gd name="T45" fmla="*/ 119 h 159"/>
                <a:gd name="T46" fmla="*/ 72 w 72"/>
                <a:gd name="T47" fmla="*/ 119 h 159"/>
                <a:gd name="T48" fmla="*/ 61 w 72"/>
                <a:gd name="T49" fmla="*/ 107 h 159"/>
                <a:gd name="T50" fmla="*/ 26 w 72"/>
                <a:gd name="T51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2" h="159">
                  <a:moveTo>
                    <a:pt x="26" y="0"/>
                  </a:moveTo>
                  <a:lnTo>
                    <a:pt x="20" y="2"/>
                  </a:lnTo>
                  <a:lnTo>
                    <a:pt x="14" y="2"/>
                  </a:lnTo>
                  <a:lnTo>
                    <a:pt x="14" y="9"/>
                  </a:lnTo>
                  <a:lnTo>
                    <a:pt x="12" y="14"/>
                  </a:lnTo>
                  <a:lnTo>
                    <a:pt x="10" y="18"/>
                  </a:lnTo>
                  <a:lnTo>
                    <a:pt x="14" y="24"/>
                  </a:lnTo>
                  <a:lnTo>
                    <a:pt x="14" y="36"/>
                  </a:lnTo>
                  <a:lnTo>
                    <a:pt x="14" y="44"/>
                  </a:lnTo>
                  <a:lnTo>
                    <a:pt x="18" y="49"/>
                  </a:lnTo>
                  <a:lnTo>
                    <a:pt x="18" y="54"/>
                  </a:lnTo>
                  <a:lnTo>
                    <a:pt x="6" y="65"/>
                  </a:lnTo>
                  <a:lnTo>
                    <a:pt x="5" y="83"/>
                  </a:lnTo>
                  <a:lnTo>
                    <a:pt x="0" y="105"/>
                  </a:lnTo>
                  <a:lnTo>
                    <a:pt x="2" y="120"/>
                  </a:lnTo>
                  <a:lnTo>
                    <a:pt x="4" y="136"/>
                  </a:lnTo>
                  <a:lnTo>
                    <a:pt x="2" y="149"/>
                  </a:lnTo>
                  <a:lnTo>
                    <a:pt x="6" y="159"/>
                  </a:lnTo>
                  <a:lnTo>
                    <a:pt x="58" y="147"/>
                  </a:lnTo>
                  <a:lnTo>
                    <a:pt x="61" y="138"/>
                  </a:lnTo>
                  <a:lnTo>
                    <a:pt x="71" y="134"/>
                  </a:lnTo>
                  <a:lnTo>
                    <a:pt x="70" y="131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61" y="107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BBBC9477-C5FE-EC97-63F9-E5152F355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08644" y="6132006"/>
              <a:ext cx="331171" cy="302550"/>
            </a:xfrm>
            <a:custGeom>
              <a:avLst/>
              <a:gdLst>
                <a:gd name="T0" fmla="*/ 5 w 81"/>
                <a:gd name="T1" fmla="*/ 42 h 74"/>
                <a:gd name="T2" fmla="*/ 5 w 81"/>
                <a:gd name="T3" fmla="*/ 52 h 74"/>
                <a:gd name="T4" fmla="*/ 12 w 81"/>
                <a:gd name="T5" fmla="*/ 60 h 74"/>
                <a:gd name="T6" fmla="*/ 5 w 81"/>
                <a:gd name="T7" fmla="*/ 69 h 74"/>
                <a:gd name="T8" fmla="*/ 7 w 81"/>
                <a:gd name="T9" fmla="*/ 74 h 74"/>
                <a:gd name="T10" fmla="*/ 13 w 81"/>
                <a:gd name="T11" fmla="*/ 71 h 74"/>
                <a:gd name="T12" fmla="*/ 19 w 81"/>
                <a:gd name="T13" fmla="*/ 66 h 74"/>
                <a:gd name="T14" fmla="*/ 21 w 81"/>
                <a:gd name="T15" fmla="*/ 63 h 74"/>
                <a:gd name="T16" fmla="*/ 29 w 81"/>
                <a:gd name="T17" fmla="*/ 56 h 74"/>
                <a:gd name="T18" fmla="*/ 35 w 81"/>
                <a:gd name="T19" fmla="*/ 52 h 74"/>
                <a:gd name="T20" fmla="*/ 48 w 81"/>
                <a:gd name="T21" fmla="*/ 52 h 74"/>
                <a:gd name="T22" fmla="*/ 52 w 81"/>
                <a:gd name="T23" fmla="*/ 49 h 74"/>
                <a:gd name="T24" fmla="*/ 56 w 81"/>
                <a:gd name="T25" fmla="*/ 46 h 74"/>
                <a:gd name="T26" fmla="*/ 62 w 81"/>
                <a:gd name="T27" fmla="*/ 43 h 74"/>
                <a:gd name="T28" fmla="*/ 71 w 81"/>
                <a:gd name="T29" fmla="*/ 41 h 74"/>
                <a:gd name="T30" fmla="*/ 78 w 81"/>
                <a:gd name="T31" fmla="*/ 40 h 74"/>
                <a:gd name="T32" fmla="*/ 81 w 81"/>
                <a:gd name="T33" fmla="*/ 38 h 74"/>
                <a:gd name="T34" fmla="*/ 72 w 81"/>
                <a:gd name="T35" fmla="*/ 0 h 74"/>
                <a:gd name="T36" fmla="*/ 35 w 81"/>
                <a:gd name="T37" fmla="*/ 7 h 74"/>
                <a:gd name="T38" fmla="*/ 0 w 81"/>
                <a:gd name="T39" fmla="*/ 14 h 74"/>
                <a:gd name="T40" fmla="*/ 0 w 81"/>
                <a:gd name="T41" fmla="*/ 15 h 74"/>
                <a:gd name="T42" fmla="*/ 5 w 81"/>
                <a:gd name="T43" fmla="*/ 4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1" h="74">
                  <a:moveTo>
                    <a:pt x="5" y="42"/>
                  </a:moveTo>
                  <a:lnTo>
                    <a:pt x="5" y="52"/>
                  </a:lnTo>
                  <a:lnTo>
                    <a:pt x="12" y="60"/>
                  </a:lnTo>
                  <a:lnTo>
                    <a:pt x="5" y="69"/>
                  </a:lnTo>
                  <a:lnTo>
                    <a:pt x="7" y="74"/>
                  </a:lnTo>
                  <a:lnTo>
                    <a:pt x="13" y="71"/>
                  </a:lnTo>
                  <a:lnTo>
                    <a:pt x="19" y="66"/>
                  </a:lnTo>
                  <a:lnTo>
                    <a:pt x="21" y="63"/>
                  </a:lnTo>
                  <a:lnTo>
                    <a:pt x="29" y="56"/>
                  </a:lnTo>
                  <a:lnTo>
                    <a:pt x="35" y="52"/>
                  </a:lnTo>
                  <a:lnTo>
                    <a:pt x="48" y="52"/>
                  </a:lnTo>
                  <a:lnTo>
                    <a:pt x="52" y="49"/>
                  </a:lnTo>
                  <a:lnTo>
                    <a:pt x="56" y="46"/>
                  </a:lnTo>
                  <a:lnTo>
                    <a:pt x="62" y="43"/>
                  </a:lnTo>
                  <a:lnTo>
                    <a:pt x="71" y="41"/>
                  </a:lnTo>
                  <a:lnTo>
                    <a:pt x="78" y="40"/>
                  </a:lnTo>
                  <a:lnTo>
                    <a:pt x="81" y="38"/>
                  </a:lnTo>
                  <a:lnTo>
                    <a:pt x="72" y="0"/>
                  </a:lnTo>
                  <a:lnTo>
                    <a:pt x="35" y="7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5" y="42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7">
              <a:extLst>
                <a:ext uri="{FF2B5EF4-FFF2-40B4-BE49-F238E27FC236}">
                  <a16:creationId xmlns:a16="http://schemas.microsoft.com/office/drawing/2014/main" id="{9F609DAF-09B2-17F2-7AC2-9E2173479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03017" y="6107475"/>
              <a:ext cx="139010" cy="179895"/>
            </a:xfrm>
            <a:custGeom>
              <a:avLst/>
              <a:gdLst>
                <a:gd name="T0" fmla="*/ 32 w 34"/>
                <a:gd name="T1" fmla="*/ 20 h 44"/>
                <a:gd name="T2" fmla="*/ 31 w 34"/>
                <a:gd name="T3" fmla="*/ 18 h 44"/>
                <a:gd name="T4" fmla="*/ 29 w 34"/>
                <a:gd name="T5" fmla="*/ 17 h 44"/>
                <a:gd name="T6" fmla="*/ 25 w 34"/>
                <a:gd name="T7" fmla="*/ 15 h 44"/>
                <a:gd name="T8" fmla="*/ 23 w 34"/>
                <a:gd name="T9" fmla="*/ 14 h 44"/>
                <a:gd name="T10" fmla="*/ 22 w 34"/>
                <a:gd name="T11" fmla="*/ 10 h 44"/>
                <a:gd name="T12" fmla="*/ 18 w 34"/>
                <a:gd name="T13" fmla="*/ 6 h 44"/>
                <a:gd name="T14" fmla="*/ 14 w 34"/>
                <a:gd name="T15" fmla="*/ 0 h 44"/>
                <a:gd name="T16" fmla="*/ 0 w 34"/>
                <a:gd name="T17" fmla="*/ 6 h 44"/>
                <a:gd name="T18" fmla="*/ 9 w 34"/>
                <a:gd name="T19" fmla="*/ 44 h 44"/>
                <a:gd name="T20" fmla="*/ 11 w 34"/>
                <a:gd name="T21" fmla="*/ 41 h 44"/>
                <a:gd name="T22" fmla="*/ 14 w 34"/>
                <a:gd name="T23" fmla="*/ 40 h 44"/>
                <a:gd name="T24" fmla="*/ 19 w 34"/>
                <a:gd name="T25" fmla="*/ 37 h 44"/>
                <a:gd name="T26" fmla="*/ 19 w 34"/>
                <a:gd name="T27" fmla="*/ 33 h 44"/>
                <a:gd name="T28" fmla="*/ 19 w 34"/>
                <a:gd name="T29" fmla="*/ 31 h 44"/>
                <a:gd name="T30" fmla="*/ 19 w 34"/>
                <a:gd name="T31" fmla="*/ 27 h 44"/>
                <a:gd name="T32" fmla="*/ 19 w 34"/>
                <a:gd name="T33" fmla="*/ 24 h 44"/>
                <a:gd name="T34" fmla="*/ 19 w 34"/>
                <a:gd name="T35" fmla="*/ 21 h 44"/>
                <a:gd name="T36" fmla="*/ 19 w 34"/>
                <a:gd name="T37" fmla="*/ 20 h 44"/>
                <a:gd name="T38" fmla="*/ 21 w 34"/>
                <a:gd name="T39" fmla="*/ 18 h 44"/>
                <a:gd name="T40" fmla="*/ 23 w 34"/>
                <a:gd name="T41" fmla="*/ 18 h 44"/>
                <a:gd name="T42" fmla="*/ 26 w 34"/>
                <a:gd name="T43" fmla="*/ 20 h 44"/>
                <a:gd name="T44" fmla="*/ 27 w 34"/>
                <a:gd name="T45" fmla="*/ 22 h 44"/>
                <a:gd name="T46" fmla="*/ 29 w 34"/>
                <a:gd name="T47" fmla="*/ 28 h 44"/>
                <a:gd name="T48" fmla="*/ 29 w 34"/>
                <a:gd name="T49" fmla="*/ 29 h 44"/>
                <a:gd name="T50" fmla="*/ 31 w 34"/>
                <a:gd name="T51" fmla="*/ 31 h 44"/>
                <a:gd name="T52" fmla="*/ 33 w 34"/>
                <a:gd name="T53" fmla="*/ 29 h 44"/>
                <a:gd name="T54" fmla="*/ 34 w 34"/>
                <a:gd name="T55" fmla="*/ 28 h 44"/>
                <a:gd name="T56" fmla="*/ 34 w 34"/>
                <a:gd name="T57" fmla="*/ 27 h 44"/>
                <a:gd name="T58" fmla="*/ 32 w 34"/>
                <a:gd name="T5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" h="44">
                  <a:moveTo>
                    <a:pt x="32" y="20"/>
                  </a:moveTo>
                  <a:lnTo>
                    <a:pt x="31" y="18"/>
                  </a:lnTo>
                  <a:lnTo>
                    <a:pt x="29" y="17"/>
                  </a:lnTo>
                  <a:lnTo>
                    <a:pt x="25" y="15"/>
                  </a:lnTo>
                  <a:lnTo>
                    <a:pt x="23" y="14"/>
                  </a:lnTo>
                  <a:lnTo>
                    <a:pt x="22" y="10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0" y="6"/>
                  </a:lnTo>
                  <a:lnTo>
                    <a:pt x="9" y="44"/>
                  </a:lnTo>
                  <a:lnTo>
                    <a:pt x="11" y="41"/>
                  </a:lnTo>
                  <a:lnTo>
                    <a:pt x="14" y="40"/>
                  </a:lnTo>
                  <a:lnTo>
                    <a:pt x="19" y="37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7"/>
                  </a:lnTo>
                  <a:lnTo>
                    <a:pt x="19" y="24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6" y="20"/>
                  </a:lnTo>
                  <a:lnTo>
                    <a:pt x="27" y="22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31" y="31"/>
                  </a:lnTo>
                  <a:lnTo>
                    <a:pt x="33" y="29"/>
                  </a:lnTo>
                  <a:lnTo>
                    <a:pt x="34" y="28"/>
                  </a:lnTo>
                  <a:lnTo>
                    <a:pt x="34" y="27"/>
                  </a:lnTo>
                  <a:lnTo>
                    <a:pt x="32" y="2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0212FFEA-9A42-AB79-D03D-8E14B1211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8644" y="5890782"/>
              <a:ext cx="633721" cy="347523"/>
            </a:xfrm>
            <a:custGeom>
              <a:avLst/>
              <a:gdLst>
                <a:gd name="T0" fmla="*/ 882 w 887"/>
                <a:gd name="T1" fmla="*/ 316 h 481"/>
                <a:gd name="T2" fmla="*/ 841 w 887"/>
                <a:gd name="T3" fmla="*/ 336 h 481"/>
                <a:gd name="T4" fmla="*/ 793 w 887"/>
                <a:gd name="T5" fmla="*/ 356 h 481"/>
                <a:gd name="T6" fmla="*/ 750 w 887"/>
                <a:gd name="T7" fmla="*/ 369 h 481"/>
                <a:gd name="T8" fmla="*/ 735 w 887"/>
                <a:gd name="T9" fmla="*/ 405 h 481"/>
                <a:gd name="T10" fmla="*/ 709 w 887"/>
                <a:gd name="T11" fmla="*/ 405 h 481"/>
                <a:gd name="T12" fmla="*/ 692 w 887"/>
                <a:gd name="T13" fmla="*/ 356 h 481"/>
                <a:gd name="T14" fmla="*/ 668 w 887"/>
                <a:gd name="T15" fmla="*/ 385 h 481"/>
                <a:gd name="T16" fmla="*/ 649 w 887"/>
                <a:gd name="T17" fmla="*/ 435 h 481"/>
                <a:gd name="T18" fmla="*/ 617 w 887"/>
                <a:gd name="T19" fmla="*/ 455 h 481"/>
                <a:gd name="T20" fmla="*/ 607 w 887"/>
                <a:gd name="T21" fmla="*/ 452 h 481"/>
                <a:gd name="T22" fmla="*/ 585 w 887"/>
                <a:gd name="T23" fmla="*/ 406 h 481"/>
                <a:gd name="T24" fmla="*/ 553 w 887"/>
                <a:gd name="T25" fmla="*/ 385 h 481"/>
                <a:gd name="T26" fmla="*/ 534 w 887"/>
                <a:gd name="T27" fmla="*/ 357 h 481"/>
                <a:gd name="T28" fmla="*/ 493 w 887"/>
                <a:gd name="T29" fmla="*/ 303 h 481"/>
                <a:gd name="T30" fmla="*/ 197 w 887"/>
                <a:gd name="T31" fmla="*/ 376 h 481"/>
                <a:gd name="T32" fmla="*/ 0 w 887"/>
                <a:gd name="T33" fmla="*/ 270 h 481"/>
                <a:gd name="T34" fmla="*/ 183 w 887"/>
                <a:gd name="T35" fmla="*/ 142 h 481"/>
                <a:gd name="T36" fmla="*/ 495 w 887"/>
                <a:gd name="T37" fmla="*/ 20 h 481"/>
                <a:gd name="T38" fmla="*/ 567 w 887"/>
                <a:gd name="T39" fmla="*/ 26 h 481"/>
                <a:gd name="T40" fmla="*/ 598 w 887"/>
                <a:gd name="T41" fmla="*/ 53 h 481"/>
                <a:gd name="T42" fmla="*/ 628 w 887"/>
                <a:gd name="T43" fmla="*/ 62 h 481"/>
                <a:gd name="T44" fmla="*/ 600 w 887"/>
                <a:gd name="T45" fmla="*/ 90 h 481"/>
                <a:gd name="T46" fmla="*/ 566 w 887"/>
                <a:gd name="T47" fmla="*/ 117 h 481"/>
                <a:gd name="T48" fmla="*/ 554 w 887"/>
                <a:gd name="T49" fmla="*/ 165 h 481"/>
                <a:gd name="T50" fmla="*/ 576 w 887"/>
                <a:gd name="T51" fmla="*/ 185 h 481"/>
                <a:gd name="T52" fmla="*/ 633 w 887"/>
                <a:gd name="T53" fmla="*/ 198 h 481"/>
                <a:gd name="T54" fmla="*/ 674 w 887"/>
                <a:gd name="T55" fmla="*/ 243 h 481"/>
                <a:gd name="T56" fmla="*/ 676 w 887"/>
                <a:gd name="T57" fmla="*/ 274 h 481"/>
                <a:gd name="T58" fmla="*/ 707 w 887"/>
                <a:gd name="T59" fmla="*/ 297 h 481"/>
                <a:gd name="T60" fmla="*/ 727 w 887"/>
                <a:gd name="T61" fmla="*/ 322 h 481"/>
                <a:gd name="T62" fmla="*/ 812 w 887"/>
                <a:gd name="T63" fmla="*/ 303 h 481"/>
                <a:gd name="T64" fmla="*/ 816 w 887"/>
                <a:gd name="T65" fmla="*/ 266 h 481"/>
                <a:gd name="T66" fmla="*/ 785 w 887"/>
                <a:gd name="T67" fmla="*/ 223 h 481"/>
                <a:gd name="T68" fmla="*/ 800 w 887"/>
                <a:gd name="T69" fmla="*/ 221 h 481"/>
                <a:gd name="T70" fmla="*/ 847 w 887"/>
                <a:gd name="T71" fmla="*/ 256 h 481"/>
                <a:gd name="T72" fmla="*/ 874 w 887"/>
                <a:gd name="T73" fmla="*/ 285 h 481"/>
                <a:gd name="T74" fmla="*/ 709 w 887"/>
                <a:gd name="T75" fmla="*/ 481 h 481"/>
                <a:gd name="T76" fmla="*/ 758 w 887"/>
                <a:gd name="T77" fmla="*/ 462 h 481"/>
                <a:gd name="T78" fmla="*/ 741 w 887"/>
                <a:gd name="T79" fmla="*/ 435 h 481"/>
                <a:gd name="T80" fmla="*/ 689 w 887"/>
                <a:gd name="T81" fmla="*/ 469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7" h="481">
                  <a:moveTo>
                    <a:pt x="887" y="295"/>
                  </a:moveTo>
                  <a:cubicBezTo>
                    <a:pt x="882" y="316"/>
                    <a:pt x="882" y="316"/>
                    <a:pt x="882" y="316"/>
                  </a:cubicBezTo>
                  <a:cubicBezTo>
                    <a:pt x="865" y="329"/>
                    <a:pt x="865" y="329"/>
                    <a:pt x="865" y="329"/>
                  </a:cubicBezTo>
                  <a:cubicBezTo>
                    <a:pt x="841" y="336"/>
                    <a:pt x="841" y="336"/>
                    <a:pt x="841" y="336"/>
                  </a:cubicBezTo>
                  <a:cubicBezTo>
                    <a:pt x="823" y="356"/>
                    <a:pt x="823" y="356"/>
                    <a:pt x="823" y="356"/>
                  </a:cubicBezTo>
                  <a:cubicBezTo>
                    <a:pt x="793" y="356"/>
                    <a:pt x="793" y="356"/>
                    <a:pt x="793" y="356"/>
                  </a:cubicBezTo>
                  <a:cubicBezTo>
                    <a:pt x="773" y="367"/>
                    <a:pt x="773" y="367"/>
                    <a:pt x="773" y="367"/>
                  </a:cubicBezTo>
                  <a:cubicBezTo>
                    <a:pt x="750" y="369"/>
                    <a:pt x="750" y="369"/>
                    <a:pt x="750" y="369"/>
                  </a:cubicBezTo>
                  <a:cubicBezTo>
                    <a:pt x="750" y="381"/>
                    <a:pt x="750" y="381"/>
                    <a:pt x="750" y="381"/>
                  </a:cubicBezTo>
                  <a:cubicBezTo>
                    <a:pt x="735" y="405"/>
                    <a:pt x="735" y="405"/>
                    <a:pt x="735" y="405"/>
                  </a:cubicBezTo>
                  <a:cubicBezTo>
                    <a:pt x="709" y="417"/>
                    <a:pt x="709" y="417"/>
                    <a:pt x="709" y="417"/>
                  </a:cubicBezTo>
                  <a:cubicBezTo>
                    <a:pt x="709" y="405"/>
                    <a:pt x="709" y="405"/>
                    <a:pt x="709" y="405"/>
                  </a:cubicBezTo>
                  <a:cubicBezTo>
                    <a:pt x="704" y="374"/>
                    <a:pt x="704" y="374"/>
                    <a:pt x="704" y="374"/>
                  </a:cubicBezTo>
                  <a:cubicBezTo>
                    <a:pt x="692" y="356"/>
                    <a:pt x="692" y="356"/>
                    <a:pt x="692" y="356"/>
                  </a:cubicBezTo>
                  <a:cubicBezTo>
                    <a:pt x="675" y="369"/>
                    <a:pt x="675" y="369"/>
                    <a:pt x="675" y="369"/>
                  </a:cubicBezTo>
                  <a:cubicBezTo>
                    <a:pt x="668" y="385"/>
                    <a:pt x="668" y="385"/>
                    <a:pt x="668" y="385"/>
                  </a:cubicBezTo>
                  <a:cubicBezTo>
                    <a:pt x="649" y="407"/>
                    <a:pt x="649" y="407"/>
                    <a:pt x="649" y="407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28" y="455"/>
                    <a:pt x="628" y="455"/>
                    <a:pt x="628" y="455"/>
                  </a:cubicBezTo>
                  <a:cubicBezTo>
                    <a:pt x="617" y="455"/>
                    <a:pt x="617" y="455"/>
                    <a:pt x="617" y="455"/>
                  </a:cubicBezTo>
                  <a:cubicBezTo>
                    <a:pt x="606" y="455"/>
                    <a:pt x="606" y="455"/>
                    <a:pt x="606" y="455"/>
                  </a:cubicBezTo>
                  <a:cubicBezTo>
                    <a:pt x="607" y="452"/>
                    <a:pt x="607" y="452"/>
                    <a:pt x="607" y="452"/>
                  </a:cubicBezTo>
                  <a:cubicBezTo>
                    <a:pt x="595" y="416"/>
                    <a:pt x="595" y="416"/>
                    <a:pt x="595" y="416"/>
                  </a:cubicBezTo>
                  <a:cubicBezTo>
                    <a:pt x="585" y="406"/>
                    <a:pt x="585" y="406"/>
                    <a:pt x="585" y="406"/>
                  </a:cubicBezTo>
                  <a:cubicBezTo>
                    <a:pt x="574" y="395"/>
                    <a:pt x="574" y="395"/>
                    <a:pt x="574" y="395"/>
                  </a:cubicBezTo>
                  <a:cubicBezTo>
                    <a:pt x="553" y="385"/>
                    <a:pt x="553" y="385"/>
                    <a:pt x="553" y="385"/>
                  </a:cubicBezTo>
                  <a:cubicBezTo>
                    <a:pt x="544" y="378"/>
                    <a:pt x="544" y="378"/>
                    <a:pt x="544" y="378"/>
                  </a:cubicBezTo>
                  <a:cubicBezTo>
                    <a:pt x="534" y="357"/>
                    <a:pt x="534" y="357"/>
                    <a:pt x="534" y="357"/>
                  </a:cubicBezTo>
                  <a:cubicBezTo>
                    <a:pt x="515" y="336"/>
                    <a:pt x="515" y="336"/>
                    <a:pt x="515" y="336"/>
                  </a:cubicBezTo>
                  <a:cubicBezTo>
                    <a:pt x="493" y="303"/>
                    <a:pt x="493" y="303"/>
                    <a:pt x="493" y="303"/>
                  </a:cubicBezTo>
                  <a:cubicBezTo>
                    <a:pt x="413" y="336"/>
                    <a:pt x="413" y="336"/>
                    <a:pt x="413" y="336"/>
                  </a:cubicBezTo>
                  <a:cubicBezTo>
                    <a:pt x="197" y="376"/>
                    <a:pt x="197" y="376"/>
                    <a:pt x="197" y="376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183" y="142"/>
                    <a:pt x="183" y="142"/>
                    <a:pt x="183" y="142"/>
                  </a:cubicBezTo>
                  <a:cubicBezTo>
                    <a:pt x="479" y="70"/>
                    <a:pt x="479" y="70"/>
                    <a:pt x="479" y="70"/>
                  </a:cubicBezTo>
                  <a:cubicBezTo>
                    <a:pt x="495" y="20"/>
                    <a:pt x="495" y="20"/>
                    <a:pt x="495" y="20"/>
                  </a:cubicBezTo>
                  <a:cubicBezTo>
                    <a:pt x="554" y="0"/>
                    <a:pt x="554" y="0"/>
                    <a:pt x="554" y="0"/>
                  </a:cubicBezTo>
                  <a:cubicBezTo>
                    <a:pt x="567" y="26"/>
                    <a:pt x="567" y="26"/>
                    <a:pt x="567" y="26"/>
                  </a:cubicBezTo>
                  <a:cubicBezTo>
                    <a:pt x="586" y="53"/>
                    <a:pt x="586" y="53"/>
                    <a:pt x="586" y="53"/>
                  </a:cubicBezTo>
                  <a:cubicBezTo>
                    <a:pt x="598" y="53"/>
                    <a:pt x="598" y="53"/>
                    <a:pt x="598" y="53"/>
                  </a:cubicBezTo>
                  <a:cubicBezTo>
                    <a:pt x="617" y="53"/>
                    <a:pt x="617" y="53"/>
                    <a:pt x="617" y="53"/>
                  </a:cubicBezTo>
                  <a:cubicBezTo>
                    <a:pt x="628" y="62"/>
                    <a:pt x="628" y="62"/>
                    <a:pt x="628" y="62"/>
                  </a:cubicBezTo>
                  <a:cubicBezTo>
                    <a:pt x="622" y="77"/>
                    <a:pt x="622" y="77"/>
                    <a:pt x="622" y="77"/>
                  </a:cubicBezTo>
                  <a:cubicBezTo>
                    <a:pt x="600" y="90"/>
                    <a:pt x="600" y="90"/>
                    <a:pt x="600" y="90"/>
                  </a:cubicBezTo>
                  <a:cubicBezTo>
                    <a:pt x="581" y="104"/>
                    <a:pt x="581" y="104"/>
                    <a:pt x="581" y="104"/>
                  </a:cubicBezTo>
                  <a:cubicBezTo>
                    <a:pt x="566" y="117"/>
                    <a:pt x="566" y="117"/>
                    <a:pt x="566" y="117"/>
                  </a:cubicBezTo>
                  <a:cubicBezTo>
                    <a:pt x="554" y="137"/>
                    <a:pt x="554" y="137"/>
                    <a:pt x="554" y="137"/>
                  </a:cubicBezTo>
                  <a:cubicBezTo>
                    <a:pt x="554" y="165"/>
                    <a:pt x="554" y="165"/>
                    <a:pt x="554" y="165"/>
                  </a:cubicBezTo>
                  <a:cubicBezTo>
                    <a:pt x="560" y="179"/>
                    <a:pt x="560" y="179"/>
                    <a:pt x="560" y="179"/>
                  </a:cubicBezTo>
                  <a:cubicBezTo>
                    <a:pt x="576" y="185"/>
                    <a:pt x="576" y="185"/>
                    <a:pt x="576" y="185"/>
                  </a:cubicBezTo>
                  <a:cubicBezTo>
                    <a:pt x="597" y="179"/>
                    <a:pt x="597" y="179"/>
                    <a:pt x="597" y="179"/>
                  </a:cubicBezTo>
                  <a:cubicBezTo>
                    <a:pt x="633" y="198"/>
                    <a:pt x="633" y="198"/>
                    <a:pt x="633" y="198"/>
                  </a:cubicBezTo>
                  <a:cubicBezTo>
                    <a:pt x="660" y="222"/>
                    <a:pt x="660" y="222"/>
                    <a:pt x="660" y="222"/>
                  </a:cubicBezTo>
                  <a:cubicBezTo>
                    <a:pt x="674" y="243"/>
                    <a:pt x="674" y="243"/>
                    <a:pt x="674" y="243"/>
                  </a:cubicBezTo>
                  <a:cubicBezTo>
                    <a:pt x="661" y="262"/>
                    <a:pt x="661" y="262"/>
                    <a:pt x="661" y="262"/>
                  </a:cubicBezTo>
                  <a:cubicBezTo>
                    <a:pt x="676" y="274"/>
                    <a:pt x="676" y="274"/>
                    <a:pt x="676" y="274"/>
                  </a:cubicBezTo>
                  <a:cubicBezTo>
                    <a:pt x="693" y="288"/>
                    <a:pt x="693" y="288"/>
                    <a:pt x="693" y="288"/>
                  </a:cubicBezTo>
                  <a:cubicBezTo>
                    <a:pt x="707" y="297"/>
                    <a:pt x="707" y="297"/>
                    <a:pt x="707" y="297"/>
                  </a:cubicBezTo>
                  <a:cubicBezTo>
                    <a:pt x="712" y="308"/>
                    <a:pt x="712" y="308"/>
                    <a:pt x="712" y="308"/>
                  </a:cubicBezTo>
                  <a:cubicBezTo>
                    <a:pt x="727" y="322"/>
                    <a:pt x="727" y="322"/>
                    <a:pt x="727" y="322"/>
                  </a:cubicBezTo>
                  <a:cubicBezTo>
                    <a:pt x="779" y="303"/>
                    <a:pt x="779" y="303"/>
                    <a:pt x="779" y="303"/>
                  </a:cubicBezTo>
                  <a:cubicBezTo>
                    <a:pt x="812" y="303"/>
                    <a:pt x="812" y="303"/>
                    <a:pt x="812" y="303"/>
                  </a:cubicBezTo>
                  <a:cubicBezTo>
                    <a:pt x="830" y="285"/>
                    <a:pt x="830" y="285"/>
                    <a:pt x="830" y="285"/>
                  </a:cubicBezTo>
                  <a:cubicBezTo>
                    <a:pt x="816" y="266"/>
                    <a:pt x="816" y="266"/>
                    <a:pt x="816" y="266"/>
                  </a:cubicBezTo>
                  <a:cubicBezTo>
                    <a:pt x="794" y="236"/>
                    <a:pt x="794" y="236"/>
                    <a:pt x="794" y="236"/>
                  </a:cubicBezTo>
                  <a:cubicBezTo>
                    <a:pt x="785" y="223"/>
                    <a:pt x="785" y="223"/>
                    <a:pt x="785" y="223"/>
                  </a:cubicBezTo>
                  <a:cubicBezTo>
                    <a:pt x="789" y="212"/>
                    <a:pt x="789" y="212"/>
                    <a:pt x="789" y="212"/>
                  </a:cubicBezTo>
                  <a:cubicBezTo>
                    <a:pt x="800" y="221"/>
                    <a:pt x="800" y="221"/>
                    <a:pt x="800" y="221"/>
                  </a:cubicBezTo>
                  <a:cubicBezTo>
                    <a:pt x="828" y="241"/>
                    <a:pt x="828" y="241"/>
                    <a:pt x="828" y="241"/>
                  </a:cubicBezTo>
                  <a:cubicBezTo>
                    <a:pt x="847" y="256"/>
                    <a:pt x="847" y="256"/>
                    <a:pt x="847" y="256"/>
                  </a:cubicBezTo>
                  <a:cubicBezTo>
                    <a:pt x="857" y="269"/>
                    <a:pt x="857" y="269"/>
                    <a:pt x="857" y="269"/>
                  </a:cubicBezTo>
                  <a:cubicBezTo>
                    <a:pt x="874" y="285"/>
                    <a:pt x="874" y="285"/>
                    <a:pt x="874" y="285"/>
                  </a:cubicBezTo>
                  <a:lnTo>
                    <a:pt x="887" y="295"/>
                  </a:lnTo>
                  <a:close/>
                  <a:moveTo>
                    <a:pt x="709" y="481"/>
                  </a:moveTo>
                  <a:cubicBezTo>
                    <a:pt x="736" y="481"/>
                    <a:pt x="736" y="481"/>
                    <a:pt x="736" y="481"/>
                  </a:cubicBezTo>
                  <a:cubicBezTo>
                    <a:pt x="758" y="462"/>
                    <a:pt x="758" y="462"/>
                    <a:pt x="758" y="462"/>
                  </a:cubicBezTo>
                  <a:cubicBezTo>
                    <a:pt x="772" y="449"/>
                    <a:pt x="772" y="449"/>
                    <a:pt x="772" y="449"/>
                  </a:cubicBezTo>
                  <a:cubicBezTo>
                    <a:pt x="741" y="435"/>
                    <a:pt x="741" y="435"/>
                    <a:pt x="741" y="435"/>
                  </a:cubicBezTo>
                  <a:cubicBezTo>
                    <a:pt x="741" y="435"/>
                    <a:pt x="719" y="421"/>
                    <a:pt x="716" y="427"/>
                  </a:cubicBezTo>
                  <a:cubicBezTo>
                    <a:pt x="713" y="433"/>
                    <a:pt x="689" y="469"/>
                    <a:pt x="689" y="469"/>
                  </a:cubicBezTo>
                  <a:lnTo>
                    <a:pt x="709" y="481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9">
              <a:extLst>
                <a:ext uri="{FF2B5EF4-FFF2-40B4-BE49-F238E27FC236}">
                  <a16:creationId xmlns:a16="http://schemas.microsoft.com/office/drawing/2014/main" id="{8C99A902-D6B2-CD4F-A5F5-EB29A7998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3333" y="6414112"/>
              <a:ext cx="245311" cy="551948"/>
            </a:xfrm>
            <a:custGeom>
              <a:avLst/>
              <a:gdLst>
                <a:gd name="T0" fmla="*/ 52 w 60"/>
                <a:gd name="T1" fmla="*/ 18 h 135"/>
                <a:gd name="T2" fmla="*/ 52 w 60"/>
                <a:gd name="T3" fmla="*/ 13 h 135"/>
                <a:gd name="T4" fmla="*/ 49 w 60"/>
                <a:gd name="T5" fmla="*/ 9 h 135"/>
                <a:gd name="T6" fmla="*/ 31 w 60"/>
                <a:gd name="T7" fmla="*/ 4 h 135"/>
                <a:gd name="T8" fmla="*/ 11 w 60"/>
                <a:gd name="T9" fmla="*/ 0 h 135"/>
                <a:gd name="T10" fmla="*/ 10 w 60"/>
                <a:gd name="T11" fmla="*/ 4 h 135"/>
                <a:gd name="T12" fmla="*/ 9 w 60"/>
                <a:gd name="T13" fmla="*/ 9 h 135"/>
                <a:gd name="T14" fmla="*/ 5 w 60"/>
                <a:gd name="T15" fmla="*/ 13 h 135"/>
                <a:gd name="T16" fmla="*/ 3 w 60"/>
                <a:gd name="T17" fmla="*/ 20 h 135"/>
                <a:gd name="T18" fmla="*/ 3 w 60"/>
                <a:gd name="T19" fmla="*/ 29 h 135"/>
                <a:gd name="T20" fmla="*/ 3 w 60"/>
                <a:gd name="T21" fmla="*/ 36 h 135"/>
                <a:gd name="T22" fmla="*/ 3 w 60"/>
                <a:gd name="T23" fmla="*/ 43 h 135"/>
                <a:gd name="T24" fmla="*/ 7 w 60"/>
                <a:gd name="T25" fmla="*/ 46 h 135"/>
                <a:gd name="T26" fmla="*/ 12 w 60"/>
                <a:gd name="T27" fmla="*/ 49 h 135"/>
                <a:gd name="T28" fmla="*/ 15 w 60"/>
                <a:gd name="T29" fmla="*/ 55 h 135"/>
                <a:gd name="T30" fmla="*/ 21 w 60"/>
                <a:gd name="T31" fmla="*/ 60 h 135"/>
                <a:gd name="T32" fmla="*/ 29 w 60"/>
                <a:gd name="T33" fmla="*/ 65 h 135"/>
                <a:gd name="T34" fmla="*/ 29 w 60"/>
                <a:gd name="T35" fmla="*/ 68 h 135"/>
                <a:gd name="T36" fmla="*/ 25 w 60"/>
                <a:gd name="T37" fmla="*/ 76 h 135"/>
                <a:gd name="T38" fmla="*/ 15 w 60"/>
                <a:gd name="T39" fmla="*/ 84 h 135"/>
                <a:gd name="T40" fmla="*/ 5 w 60"/>
                <a:gd name="T41" fmla="*/ 92 h 135"/>
                <a:gd name="T42" fmla="*/ 2 w 60"/>
                <a:gd name="T43" fmla="*/ 96 h 135"/>
                <a:gd name="T44" fmla="*/ 0 w 60"/>
                <a:gd name="T45" fmla="*/ 103 h 135"/>
                <a:gd name="T46" fmla="*/ 1 w 60"/>
                <a:gd name="T47" fmla="*/ 108 h 135"/>
                <a:gd name="T48" fmla="*/ 4 w 60"/>
                <a:gd name="T49" fmla="*/ 113 h 135"/>
                <a:gd name="T50" fmla="*/ 11 w 60"/>
                <a:gd name="T51" fmla="*/ 119 h 135"/>
                <a:gd name="T52" fmla="*/ 17 w 60"/>
                <a:gd name="T53" fmla="*/ 121 h 135"/>
                <a:gd name="T54" fmla="*/ 22 w 60"/>
                <a:gd name="T55" fmla="*/ 124 h 135"/>
                <a:gd name="T56" fmla="*/ 27 w 60"/>
                <a:gd name="T57" fmla="*/ 122 h 135"/>
                <a:gd name="T58" fmla="*/ 34 w 60"/>
                <a:gd name="T59" fmla="*/ 124 h 135"/>
                <a:gd name="T60" fmla="*/ 36 w 60"/>
                <a:gd name="T61" fmla="*/ 124 h 135"/>
                <a:gd name="T62" fmla="*/ 34 w 60"/>
                <a:gd name="T63" fmla="*/ 128 h 135"/>
                <a:gd name="T64" fmla="*/ 34 w 60"/>
                <a:gd name="T65" fmla="*/ 133 h 135"/>
                <a:gd name="T66" fmla="*/ 36 w 60"/>
                <a:gd name="T67" fmla="*/ 135 h 135"/>
                <a:gd name="T68" fmla="*/ 38 w 60"/>
                <a:gd name="T69" fmla="*/ 135 h 135"/>
                <a:gd name="T70" fmla="*/ 39 w 60"/>
                <a:gd name="T71" fmla="*/ 126 h 135"/>
                <a:gd name="T72" fmla="*/ 40 w 60"/>
                <a:gd name="T73" fmla="*/ 122 h 135"/>
                <a:gd name="T74" fmla="*/ 44 w 60"/>
                <a:gd name="T75" fmla="*/ 118 h 135"/>
                <a:gd name="T76" fmla="*/ 51 w 60"/>
                <a:gd name="T77" fmla="*/ 111 h 135"/>
                <a:gd name="T78" fmla="*/ 52 w 60"/>
                <a:gd name="T79" fmla="*/ 100 h 135"/>
                <a:gd name="T80" fmla="*/ 52 w 60"/>
                <a:gd name="T81" fmla="*/ 93 h 135"/>
                <a:gd name="T82" fmla="*/ 57 w 60"/>
                <a:gd name="T83" fmla="*/ 88 h 135"/>
                <a:gd name="T84" fmla="*/ 58 w 60"/>
                <a:gd name="T85" fmla="*/ 76 h 135"/>
                <a:gd name="T86" fmla="*/ 60 w 60"/>
                <a:gd name="T87" fmla="*/ 69 h 135"/>
                <a:gd name="T88" fmla="*/ 60 w 60"/>
                <a:gd name="T89" fmla="*/ 58 h 135"/>
                <a:gd name="T90" fmla="*/ 60 w 60"/>
                <a:gd name="T91" fmla="*/ 51 h 135"/>
                <a:gd name="T92" fmla="*/ 57 w 60"/>
                <a:gd name="T93" fmla="*/ 44 h 135"/>
                <a:gd name="T94" fmla="*/ 51 w 60"/>
                <a:gd name="T95" fmla="*/ 42 h 135"/>
                <a:gd name="T96" fmla="*/ 49 w 60"/>
                <a:gd name="T97" fmla="*/ 42 h 135"/>
                <a:gd name="T98" fmla="*/ 49 w 60"/>
                <a:gd name="T99" fmla="*/ 35 h 135"/>
                <a:gd name="T100" fmla="*/ 53 w 60"/>
                <a:gd name="T101" fmla="*/ 29 h 135"/>
                <a:gd name="T102" fmla="*/ 55 w 60"/>
                <a:gd name="T103" fmla="*/ 25 h 135"/>
                <a:gd name="T104" fmla="*/ 54 w 60"/>
                <a:gd name="T105" fmla="*/ 25 h 135"/>
                <a:gd name="T106" fmla="*/ 52 w 60"/>
                <a:gd name="T107" fmla="*/ 1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" h="135">
                  <a:moveTo>
                    <a:pt x="52" y="18"/>
                  </a:moveTo>
                  <a:lnTo>
                    <a:pt x="52" y="13"/>
                  </a:lnTo>
                  <a:lnTo>
                    <a:pt x="49" y="9"/>
                  </a:lnTo>
                  <a:lnTo>
                    <a:pt x="31" y="4"/>
                  </a:lnTo>
                  <a:lnTo>
                    <a:pt x="11" y="0"/>
                  </a:lnTo>
                  <a:lnTo>
                    <a:pt x="10" y="4"/>
                  </a:lnTo>
                  <a:lnTo>
                    <a:pt x="9" y="9"/>
                  </a:lnTo>
                  <a:lnTo>
                    <a:pt x="5" y="13"/>
                  </a:lnTo>
                  <a:lnTo>
                    <a:pt x="3" y="20"/>
                  </a:lnTo>
                  <a:lnTo>
                    <a:pt x="3" y="29"/>
                  </a:lnTo>
                  <a:lnTo>
                    <a:pt x="3" y="36"/>
                  </a:lnTo>
                  <a:lnTo>
                    <a:pt x="3" y="43"/>
                  </a:lnTo>
                  <a:lnTo>
                    <a:pt x="7" y="46"/>
                  </a:lnTo>
                  <a:lnTo>
                    <a:pt x="12" y="49"/>
                  </a:lnTo>
                  <a:lnTo>
                    <a:pt x="15" y="55"/>
                  </a:lnTo>
                  <a:lnTo>
                    <a:pt x="21" y="60"/>
                  </a:lnTo>
                  <a:lnTo>
                    <a:pt x="29" y="65"/>
                  </a:lnTo>
                  <a:lnTo>
                    <a:pt x="29" y="68"/>
                  </a:lnTo>
                  <a:lnTo>
                    <a:pt x="25" y="76"/>
                  </a:lnTo>
                  <a:lnTo>
                    <a:pt x="15" y="84"/>
                  </a:lnTo>
                  <a:lnTo>
                    <a:pt x="5" y="92"/>
                  </a:lnTo>
                  <a:lnTo>
                    <a:pt x="2" y="96"/>
                  </a:lnTo>
                  <a:lnTo>
                    <a:pt x="0" y="103"/>
                  </a:lnTo>
                  <a:lnTo>
                    <a:pt x="1" y="108"/>
                  </a:lnTo>
                  <a:lnTo>
                    <a:pt x="4" y="113"/>
                  </a:lnTo>
                  <a:lnTo>
                    <a:pt x="11" y="119"/>
                  </a:lnTo>
                  <a:lnTo>
                    <a:pt x="17" y="121"/>
                  </a:lnTo>
                  <a:lnTo>
                    <a:pt x="22" y="124"/>
                  </a:lnTo>
                  <a:lnTo>
                    <a:pt x="27" y="122"/>
                  </a:lnTo>
                  <a:lnTo>
                    <a:pt x="34" y="124"/>
                  </a:lnTo>
                  <a:lnTo>
                    <a:pt x="36" y="124"/>
                  </a:lnTo>
                  <a:lnTo>
                    <a:pt x="34" y="128"/>
                  </a:lnTo>
                  <a:lnTo>
                    <a:pt x="34" y="133"/>
                  </a:lnTo>
                  <a:lnTo>
                    <a:pt x="36" y="135"/>
                  </a:lnTo>
                  <a:lnTo>
                    <a:pt x="38" y="135"/>
                  </a:lnTo>
                  <a:lnTo>
                    <a:pt x="39" y="126"/>
                  </a:lnTo>
                  <a:lnTo>
                    <a:pt x="40" y="122"/>
                  </a:lnTo>
                  <a:lnTo>
                    <a:pt x="44" y="118"/>
                  </a:lnTo>
                  <a:lnTo>
                    <a:pt x="51" y="111"/>
                  </a:lnTo>
                  <a:lnTo>
                    <a:pt x="52" y="100"/>
                  </a:lnTo>
                  <a:lnTo>
                    <a:pt x="52" y="93"/>
                  </a:lnTo>
                  <a:lnTo>
                    <a:pt x="57" y="88"/>
                  </a:lnTo>
                  <a:lnTo>
                    <a:pt x="58" y="76"/>
                  </a:lnTo>
                  <a:lnTo>
                    <a:pt x="60" y="69"/>
                  </a:lnTo>
                  <a:lnTo>
                    <a:pt x="60" y="58"/>
                  </a:lnTo>
                  <a:lnTo>
                    <a:pt x="60" y="51"/>
                  </a:lnTo>
                  <a:lnTo>
                    <a:pt x="57" y="44"/>
                  </a:lnTo>
                  <a:lnTo>
                    <a:pt x="51" y="42"/>
                  </a:lnTo>
                  <a:lnTo>
                    <a:pt x="49" y="42"/>
                  </a:lnTo>
                  <a:lnTo>
                    <a:pt x="49" y="35"/>
                  </a:lnTo>
                  <a:lnTo>
                    <a:pt x="53" y="29"/>
                  </a:lnTo>
                  <a:lnTo>
                    <a:pt x="55" y="25"/>
                  </a:lnTo>
                  <a:lnTo>
                    <a:pt x="54" y="25"/>
                  </a:lnTo>
                  <a:lnTo>
                    <a:pt x="52" y="18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0">
              <a:extLst>
                <a:ext uri="{FF2B5EF4-FFF2-40B4-BE49-F238E27FC236}">
                  <a16:creationId xmlns:a16="http://schemas.microsoft.com/office/drawing/2014/main" id="{6F22B78E-2FBE-00DF-614F-7C137A5B1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18358" y="6794345"/>
              <a:ext cx="188072" cy="314814"/>
            </a:xfrm>
            <a:custGeom>
              <a:avLst/>
              <a:gdLst>
                <a:gd name="T0" fmla="*/ 12 w 46"/>
                <a:gd name="T1" fmla="*/ 15 h 77"/>
                <a:gd name="T2" fmla="*/ 11 w 46"/>
                <a:gd name="T3" fmla="*/ 10 h 77"/>
                <a:gd name="T4" fmla="*/ 13 w 46"/>
                <a:gd name="T5" fmla="*/ 3 h 77"/>
                <a:gd name="T6" fmla="*/ 14 w 46"/>
                <a:gd name="T7" fmla="*/ 1 h 77"/>
                <a:gd name="T8" fmla="*/ 13 w 46"/>
                <a:gd name="T9" fmla="*/ 0 h 77"/>
                <a:gd name="T10" fmla="*/ 8 w 46"/>
                <a:gd name="T11" fmla="*/ 0 h 77"/>
                <a:gd name="T12" fmla="*/ 6 w 46"/>
                <a:gd name="T13" fmla="*/ 0 h 77"/>
                <a:gd name="T14" fmla="*/ 2 w 46"/>
                <a:gd name="T15" fmla="*/ 3 h 77"/>
                <a:gd name="T16" fmla="*/ 0 w 46"/>
                <a:gd name="T17" fmla="*/ 8 h 77"/>
                <a:gd name="T18" fmla="*/ 17 w 46"/>
                <a:gd name="T19" fmla="*/ 77 h 77"/>
                <a:gd name="T20" fmla="*/ 46 w 46"/>
                <a:gd name="T21" fmla="*/ 73 h 77"/>
                <a:gd name="T22" fmla="*/ 45 w 46"/>
                <a:gd name="T23" fmla="*/ 63 h 77"/>
                <a:gd name="T24" fmla="*/ 41 w 46"/>
                <a:gd name="T25" fmla="*/ 57 h 77"/>
                <a:gd name="T26" fmla="*/ 38 w 46"/>
                <a:gd name="T27" fmla="*/ 54 h 77"/>
                <a:gd name="T28" fmla="*/ 36 w 46"/>
                <a:gd name="T29" fmla="*/ 52 h 77"/>
                <a:gd name="T30" fmla="*/ 32 w 46"/>
                <a:gd name="T31" fmla="*/ 49 h 77"/>
                <a:gd name="T32" fmla="*/ 28 w 46"/>
                <a:gd name="T33" fmla="*/ 45 h 77"/>
                <a:gd name="T34" fmla="*/ 25 w 46"/>
                <a:gd name="T35" fmla="*/ 40 h 77"/>
                <a:gd name="T36" fmla="*/ 22 w 46"/>
                <a:gd name="T37" fmla="*/ 34 h 77"/>
                <a:gd name="T38" fmla="*/ 19 w 46"/>
                <a:gd name="T39" fmla="*/ 28 h 77"/>
                <a:gd name="T40" fmla="*/ 22 w 46"/>
                <a:gd name="T41" fmla="*/ 25 h 77"/>
                <a:gd name="T42" fmla="*/ 15 w 46"/>
                <a:gd name="T43" fmla="*/ 20 h 77"/>
                <a:gd name="T44" fmla="*/ 12 w 46"/>
                <a:gd name="T45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77">
                  <a:moveTo>
                    <a:pt x="12" y="15"/>
                  </a:moveTo>
                  <a:lnTo>
                    <a:pt x="11" y="10"/>
                  </a:lnTo>
                  <a:lnTo>
                    <a:pt x="13" y="3"/>
                  </a:lnTo>
                  <a:lnTo>
                    <a:pt x="14" y="1"/>
                  </a:lnTo>
                  <a:lnTo>
                    <a:pt x="13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17" y="77"/>
                  </a:lnTo>
                  <a:lnTo>
                    <a:pt x="46" y="73"/>
                  </a:lnTo>
                  <a:lnTo>
                    <a:pt x="45" y="63"/>
                  </a:lnTo>
                  <a:lnTo>
                    <a:pt x="41" y="57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2" y="49"/>
                  </a:lnTo>
                  <a:lnTo>
                    <a:pt x="28" y="45"/>
                  </a:lnTo>
                  <a:lnTo>
                    <a:pt x="25" y="40"/>
                  </a:lnTo>
                  <a:lnTo>
                    <a:pt x="22" y="34"/>
                  </a:lnTo>
                  <a:lnTo>
                    <a:pt x="19" y="28"/>
                  </a:lnTo>
                  <a:lnTo>
                    <a:pt x="22" y="25"/>
                  </a:lnTo>
                  <a:lnTo>
                    <a:pt x="15" y="20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1">
              <a:extLst>
                <a:ext uri="{FF2B5EF4-FFF2-40B4-BE49-F238E27FC236}">
                  <a16:creationId xmlns:a16="http://schemas.microsoft.com/office/drawing/2014/main" id="{AECFC6ED-0DC5-6564-E941-F5FF9A6E5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2089" y="6266926"/>
              <a:ext cx="1099812" cy="711402"/>
            </a:xfrm>
            <a:custGeom>
              <a:avLst/>
              <a:gdLst>
                <a:gd name="T0" fmla="*/ 235 w 269"/>
                <a:gd name="T1" fmla="*/ 129 h 174"/>
                <a:gd name="T2" fmla="*/ 237 w 269"/>
                <a:gd name="T3" fmla="*/ 129 h 174"/>
                <a:gd name="T4" fmla="*/ 242 w 269"/>
                <a:gd name="T5" fmla="*/ 129 h 174"/>
                <a:gd name="T6" fmla="*/ 243 w 269"/>
                <a:gd name="T7" fmla="*/ 130 h 174"/>
                <a:gd name="T8" fmla="*/ 245 w 269"/>
                <a:gd name="T9" fmla="*/ 128 h 174"/>
                <a:gd name="T10" fmla="*/ 255 w 269"/>
                <a:gd name="T11" fmla="*/ 120 h 174"/>
                <a:gd name="T12" fmla="*/ 265 w 269"/>
                <a:gd name="T13" fmla="*/ 112 h 174"/>
                <a:gd name="T14" fmla="*/ 269 w 269"/>
                <a:gd name="T15" fmla="*/ 104 h 174"/>
                <a:gd name="T16" fmla="*/ 269 w 269"/>
                <a:gd name="T17" fmla="*/ 101 h 174"/>
                <a:gd name="T18" fmla="*/ 261 w 269"/>
                <a:gd name="T19" fmla="*/ 96 h 174"/>
                <a:gd name="T20" fmla="*/ 255 w 269"/>
                <a:gd name="T21" fmla="*/ 91 h 174"/>
                <a:gd name="T22" fmla="*/ 252 w 269"/>
                <a:gd name="T23" fmla="*/ 85 h 174"/>
                <a:gd name="T24" fmla="*/ 247 w 269"/>
                <a:gd name="T25" fmla="*/ 82 h 174"/>
                <a:gd name="T26" fmla="*/ 243 w 269"/>
                <a:gd name="T27" fmla="*/ 79 h 174"/>
                <a:gd name="T28" fmla="*/ 243 w 269"/>
                <a:gd name="T29" fmla="*/ 72 h 174"/>
                <a:gd name="T30" fmla="*/ 243 w 269"/>
                <a:gd name="T31" fmla="*/ 65 h 174"/>
                <a:gd name="T32" fmla="*/ 243 w 269"/>
                <a:gd name="T33" fmla="*/ 56 h 174"/>
                <a:gd name="T34" fmla="*/ 245 w 269"/>
                <a:gd name="T35" fmla="*/ 49 h 174"/>
                <a:gd name="T36" fmla="*/ 249 w 269"/>
                <a:gd name="T37" fmla="*/ 45 h 174"/>
                <a:gd name="T38" fmla="*/ 250 w 269"/>
                <a:gd name="T39" fmla="*/ 40 h 174"/>
                <a:gd name="T40" fmla="*/ 251 w 269"/>
                <a:gd name="T41" fmla="*/ 36 h 174"/>
                <a:gd name="T42" fmla="*/ 255 w 269"/>
                <a:gd name="T43" fmla="*/ 29 h 174"/>
                <a:gd name="T44" fmla="*/ 251 w 269"/>
                <a:gd name="T45" fmla="*/ 27 h 174"/>
                <a:gd name="T46" fmla="*/ 247 w 269"/>
                <a:gd name="T47" fmla="*/ 26 h 174"/>
                <a:gd name="T48" fmla="*/ 243 w 269"/>
                <a:gd name="T49" fmla="*/ 24 h 174"/>
                <a:gd name="T50" fmla="*/ 237 w 269"/>
                <a:gd name="T51" fmla="*/ 14 h 174"/>
                <a:gd name="T52" fmla="*/ 231 w 269"/>
                <a:gd name="T53" fmla="*/ 8 h 174"/>
                <a:gd name="T54" fmla="*/ 220 w 269"/>
                <a:gd name="T55" fmla="*/ 0 h 174"/>
                <a:gd name="T56" fmla="*/ 34 w 269"/>
                <a:gd name="T57" fmla="*/ 33 h 174"/>
                <a:gd name="T58" fmla="*/ 31 w 269"/>
                <a:gd name="T59" fmla="*/ 19 h 174"/>
                <a:gd name="T60" fmla="*/ 22 w 269"/>
                <a:gd name="T61" fmla="*/ 25 h 174"/>
                <a:gd name="T62" fmla="*/ 15 w 269"/>
                <a:gd name="T63" fmla="*/ 30 h 174"/>
                <a:gd name="T64" fmla="*/ 7 w 269"/>
                <a:gd name="T65" fmla="*/ 35 h 174"/>
                <a:gd name="T66" fmla="*/ 0 w 269"/>
                <a:gd name="T67" fmla="*/ 40 h 174"/>
                <a:gd name="T68" fmla="*/ 22 w 269"/>
                <a:gd name="T69" fmla="*/ 174 h 174"/>
                <a:gd name="T70" fmla="*/ 229 w 269"/>
                <a:gd name="T71" fmla="*/ 137 h 174"/>
                <a:gd name="T72" fmla="*/ 231 w 269"/>
                <a:gd name="T73" fmla="*/ 132 h 174"/>
                <a:gd name="T74" fmla="*/ 235 w 269"/>
                <a:gd name="T75" fmla="*/ 12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9" h="174">
                  <a:moveTo>
                    <a:pt x="235" y="129"/>
                  </a:moveTo>
                  <a:lnTo>
                    <a:pt x="237" y="129"/>
                  </a:lnTo>
                  <a:lnTo>
                    <a:pt x="242" y="129"/>
                  </a:lnTo>
                  <a:lnTo>
                    <a:pt x="243" y="130"/>
                  </a:lnTo>
                  <a:lnTo>
                    <a:pt x="245" y="128"/>
                  </a:lnTo>
                  <a:lnTo>
                    <a:pt x="255" y="120"/>
                  </a:lnTo>
                  <a:lnTo>
                    <a:pt x="265" y="112"/>
                  </a:lnTo>
                  <a:lnTo>
                    <a:pt x="269" y="104"/>
                  </a:lnTo>
                  <a:lnTo>
                    <a:pt x="269" y="101"/>
                  </a:lnTo>
                  <a:lnTo>
                    <a:pt x="261" y="96"/>
                  </a:lnTo>
                  <a:lnTo>
                    <a:pt x="255" y="91"/>
                  </a:lnTo>
                  <a:lnTo>
                    <a:pt x="252" y="85"/>
                  </a:lnTo>
                  <a:lnTo>
                    <a:pt x="247" y="82"/>
                  </a:lnTo>
                  <a:lnTo>
                    <a:pt x="243" y="79"/>
                  </a:lnTo>
                  <a:lnTo>
                    <a:pt x="243" y="72"/>
                  </a:lnTo>
                  <a:lnTo>
                    <a:pt x="243" y="65"/>
                  </a:lnTo>
                  <a:lnTo>
                    <a:pt x="243" y="56"/>
                  </a:lnTo>
                  <a:lnTo>
                    <a:pt x="245" y="49"/>
                  </a:lnTo>
                  <a:lnTo>
                    <a:pt x="249" y="45"/>
                  </a:lnTo>
                  <a:lnTo>
                    <a:pt x="250" y="40"/>
                  </a:lnTo>
                  <a:lnTo>
                    <a:pt x="251" y="36"/>
                  </a:lnTo>
                  <a:lnTo>
                    <a:pt x="255" y="29"/>
                  </a:lnTo>
                  <a:lnTo>
                    <a:pt x="251" y="27"/>
                  </a:lnTo>
                  <a:lnTo>
                    <a:pt x="247" y="26"/>
                  </a:lnTo>
                  <a:lnTo>
                    <a:pt x="243" y="24"/>
                  </a:lnTo>
                  <a:lnTo>
                    <a:pt x="237" y="14"/>
                  </a:lnTo>
                  <a:lnTo>
                    <a:pt x="231" y="8"/>
                  </a:lnTo>
                  <a:lnTo>
                    <a:pt x="220" y="0"/>
                  </a:lnTo>
                  <a:lnTo>
                    <a:pt x="34" y="33"/>
                  </a:lnTo>
                  <a:lnTo>
                    <a:pt x="31" y="19"/>
                  </a:lnTo>
                  <a:lnTo>
                    <a:pt x="22" y="25"/>
                  </a:lnTo>
                  <a:lnTo>
                    <a:pt x="15" y="30"/>
                  </a:lnTo>
                  <a:lnTo>
                    <a:pt x="7" y="35"/>
                  </a:lnTo>
                  <a:lnTo>
                    <a:pt x="0" y="40"/>
                  </a:lnTo>
                  <a:lnTo>
                    <a:pt x="22" y="174"/>
                  </a:lnTo>
                  <a:lnTo>
                    <a:pt x="229" y="137"/>
                  </a:lnTo>
                  <a:lnTo>
                    <a:pt x="231" y="132"/>
                  </a:lnTo>
                  <a:lnTo>
                    <a:pt x="235" y="129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2">
              <a:extLst>
                <a:ext uri="{FF2B5EF4-FFF2-40B4-BE49-F238E27FC236}">
                  <a16:creationId xmlns:a16="http://schemas.microsoft.com/office/drawing/2014/main" id="{9F5D119B-D38D-AA64-109C-59062F5A2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1783" y="9124800"/>
              <a:ext cx="1700822" cy="1336943"/>
            </a:xfrm>
            <a:custGeom>
              <a:avLst/>
              <a:gdLst>
                <a:gd name="T0" fmla="*/ 286 w 416"/>
                <a:gd name="T1" fmla="*/ 1 h 327"/>
                <a:gd name="T2" fmla="*/ 301 w 416"/>
                <a:gd name="T3" fmla="*/ 15 h 327"/>
                <a:gd name="T4" fmla="*/ 319 w 416"/>
                <a:gd name="T5" fmla="*/ 44 h 327"/>
                <a:gd name="T6" fmla="*/ 344 w 416"/>
                <a:gd name="T7" fmla="*/ 90 h 327"/>
                <a:gd name="T8" fmla="*/ 370 w 416"/>
                <a:gd name="T9" fmla="*/ 121 h 327"/>
                <a:gd name="T10" fmla="*/ 366 w 416"/>
                <a:gd name="T11" fmla="*/ 124 h 327"/>
                <a:gd name="T12" fmla="*/ 383 w 416"/>
                <a:gd name="T13" fmla="*/ 167 h 327"/>
                <a:gd name="T14" fmla="*/ 408 w 416"/>
                <a:gd name="T15" fmla="*/ 207 h 327"/>
                <a:gd name="T16" fmla="*/ 416 w 416"/>
                <a:gd name="T17" fmla="*/ 252 h 327"/>
                <a:gd name="T18" fmla="*/ 412 w 416"/>
                <a:gd name="T19" fmla="*/ 281 h 327"/>
                <a:gd name="T20" fmla="*/ 411 w 416"/>
                <a:gd name="T21" fmla="*/ 302 h 327"/>
                <a:gd name="T22" fmla="*/ 400 w 416"/>
                <a:gd name="T23" fmla="*/ 325 h 327"/>
                <a:gd name="T24" fmla="*/ 401 w 416"/>
                <a:gd name="T25" fmla="*/ 317 h 327"/>
                <a:gd name="T26" fmla="*/ 391 w 416"/>
                <a:gd name="T27" fmla="*/ 316 h 327"/>
                <a:gd name="T28" fmla="*/ 377 w 416"/>
                <a:gd name="T29" fmla="*/ 319 h 327"/>
                <a:gd name="T30" fmla="*/ 365 w 416"/>
                <a:gd name="T31" fmla="*/ 317 h 327"/>
                <a:gd name="T32" fmla="*/ 365 w 416"/>
                <a:gd name="T33" fmla="*/ 312 h 327"/>
                <a:gd name="T34" fmla="*/ 375 w 416"/>
                <a:gd name="T35" fmla="*/ 309 h 327"/>
                <a:gd name="T36" fmla="*/ 361 w 416"/>
                <a:gd name="T37" fmla="*/ 305 h 327"/>
                <a:gd name="T38" fmla="*/ 350 w 416"/>
                <a:gd name="T39" fmla="*/ 286 h 327"/>
                <a:gd name="T40" fmla="*/ 333 w 416"/>
                <a:gd name="T41" fmla="*/ 277 h 327"/>
                <a:gd name="T42" fmla="*/ 319 w 416"/>
                <a:gd name="T43" fmla="*/ 253 h 327"/>
                <a:gd name="T44" fmla="*/ 309 w 416"/>
                <a:gd name="T45" fmla="*/ 243 h 327"/>
                <a:gd name="T46" fmla="*/ 306 w 416"/>
                <a:gd name="T47" fmla="*/ 230 h 327"/>
                <a:gd name="T48" fmla="*/ 298 w 416"/>
                <a:gd name="T49" fmla="*/ 226 h 327"/>
                <a:gd name="T50" fmla="*/ 293 w 416"/>
                <a:gd name="T51" fmla="*/ 232 h 327"/>
                <a:gd name="T52" fmla="*/ 277 w 416"/>
                <a:gd name="T53" fmla="*/ 212 h 327"/>
                <a:gd name="T54" fmla="*/ 274 w 416"/>
                <a:gd name="T55" fmla="*/ 202 h 327"/>
                <a:gd name="T56" fmla="*/ 277 w 416"/>
                <a:gd name="T57" fmla="*/ 187 h 327"/>
                <a:gd name="T58" fmla="*/ 277 w 416"/>
                <a:gd name="T59" fmla="*/ 174 h 327"/>
                <a:gd name="T60" fmla="*/ 272 w 416"/>
                <a:gd name="T61" fmla="*/ 174 h 327"/>
                <a:gd name="T62" fmla="*/ 267 w 416"/>
                <a:gd name="T63" fmla="*/ 171 h 327"/>
                <a:gd name="T64" fmla="*/ 271 w 416"/>
                <a:gd name="T65" fmla="*/ 183 h 327"/>
                <a:gd name="T66" fmla="*/ 265 w 416"/>
                <a:gd name="T67" fmla="*/ 185 h 327"/>
                <a:gd name="T68" fmla="*/ 256 w 416"/>
                <a:gd name="T69" fmla="*/ 172 h 327"/>
                <a:gd name="T70" fmla="*/ 259 w 416"/>
                <a:gd name="T71" fmla="*/ 152 h 327"/>
                <a:gd name="T72" fmla="*/ 260 w 416"/>
                <a:gd name="T73" fmla="*/ 124 h 327"/>
                <a:gd name="T74" fmla="*/ 248 w 416"/>
                <a:gd name="T75" fmla="*/ 104 h 327"/>
                <a:gd name="T76" fmla="*/ 233 w 416"/>
                <a:gd name="T77" fmla="*/ 97 h 327"/>
                <a:gd name="T78" fmla="*/ 217 w 416"/>
                <a:gd name="T79" fmla="*/ 86 h 327"/>
                <a:gd name="T80" fmla="*/ 204 w 416"/>
                <a:gd name="T81" fmla="*/ 69 h 327"/>
                <a:gd name="T82" fmla="*/ 186 w 416"/>
                <a:gd name="T83" fmla="*/ 56 h 327"/>
                <a:gd name="T84" fmla="*/ 167 w 416"/>
                <a:gd name="T85" fmla="*/ 57 h 327"/>
                <a:gd name="T86" fmla="*/ 165 w 416"/>
                <a:gd name="T87" fmla="*/ 68 h 327"/>
                <a:gd name="T88" fmla="*/ 152 w 416"/>
                <a:gd name="T89" fmla="*/ 71 h 327"/>
                <a:gd name="T90" fmla="*/ 119 w 416"/>
                <a:gd name="T91" fmla="*/ 85 h 327"/>
                <a:gd name="T92" fmla="*/ 110 w 416"/>
                <a:gd name="T93" fmla="*/ 70 h 327"/>
                <a:gd name="T94" fmla="*/ 109 w 416"/>
                <a:gd name="T95" fmla="*/ 62 h 327"/>
                <a:gd name="T96" fmla="*/ 101 w 416"/>
                <a:gd name="T97" fmla="*/ 56 h 327"/>
                <a:gd name="T98" fmla="*/ 102 w 416"/>
                <a:gd name="T99" fmla="*/ 52 h 327"/>
                <a:gd name="T100" fmla="*/ 98 w 416"/>
                <a:gd name="T101" fmla="*/ 54 h 327"/>
                <a:gd name="T102" fmla="*/ 91 w 416"/>
                <a:gd name="T103" fmla="*/ 56 h 327"/>
                <a:gd name="T104" fmla="*/ 92 w 416"/>
                <a:gd name="T105" fmla="*/ 62 h 327"/>
                <a:gd name="T106" fmla="*/ 76 w 416"/>
                <a:gd name="T107" fmla="*/ 54 h 327"/>
                <a:gd name="T108" fmla="*/ 55 w 416"/>
                <a:gd name="T109" fmla="*/ 49 h 327"/>
                <a:gd name="T110" fmla="*/ 27 w 416"/>
                <a:gd name="T111" fmla="*/ 51 h 327"/>
                <a:gd name="T112" fmla="*/ 10 w 416"/>
                <a:gd name="T113" fmla="*/ 46 h 327"/>
                <a:gd name="T114" fmla="*/ 0 w 416"/>
                <a:gd name="T115" fmla="*/ 30 h 327"/>
                <a:gd name="T116" fmla="*/ 13 w 416"/>
                <a:gd name="T117" fmla="*/ 21 h 327"/>
                <a:gd name="T118" fmla="*/ 139 w 416"/>
                <a:gd name="T119" fmla="*/ 25 h 327"/>
                <a:gd name="T120" fmla="*/ 281 w 416"/>
                <a:gd name="T121" fmla="*/ 28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6" h="327">
                  <a:moveTo>
                    <a:pt x="278" y="0"/>
                  </a:moveTo>
                  <a:lnTo>
                    <a:pt x="277" y="0"/>
                  </a:lnTo>
                  <a:lnTo>
                    <a:pt x="286" y="1"/>
                  </a:lnTo>
                  <a:lnTo>
                    <a:pt x="298" y="4"/>
                  </a:lnTo>
                  <a:lnTo>
                    <a:pt x="300" y="11"/>
                  </a:lnTo>
                  <a:lnTo>
                    <a:pt x="301" y="15"/>
                  </a:lnTo>
                  <a:lnTo>
                    <a:pt x="306" y="19"/>
                  </a:lnTo>
                  <a:lnTo>
                    <a:pt x="312" y="25"/>
                  </a:lnTo>
                  <a:lnTo>
                    <a:pt x="319" y="44"/>
                  </a:lnTo>
                  <a:lnTo>
                    <a:pt x="328" y="58"/>
                  </a:lnTo>
                  <a:lnTo>
                    <a:pt x="338" y="79"/>
                  </a:lnTo>
                  <a:lnTo>
                    <a:pt x="344" y="90"/>
                  </a:lnTo>
                  <a:lnTo>
                    <a:pt x="359" y="110"/>
                  </a:lnTo>
                  <a:lnTo>
                    <a:pt x="366" y="117"/>
                  </a:lnTo>
                  <a:lnTo>
                    <a:pt x="370" y="121"/>
                  </a:lnTo>
                  <a:lnTo>
                    <a:pt x="371" y="125"/>
                  </a:lnTo>
                  <a:lnTo>
                    <a:pt x="369" y="138"/>
                  </a:lnTo>
                  <a:lnTo>
                    <a:pt x="366" y="124"/>
                  </a:lnTo>
                  <a:lnTo>
                    <a:pt x="365" y="138"/>
                  </a:lnTo>
                  <a:lnTo>
                    <a:pt x="373" y="153"/>
                  </a:lnTo>
                  <a:lnTo>
                    <a:pt x="383" y="167"/>
                  </a:lnTo>
                  <a:lnTo>
                    <a:pt x="393" y="186"/>
                  </a:lnTo>
                  <a:lnTo>
                    <a:pt x="399" y="197"/>
                  </a:lnTo>
                  <a:lnTo>
                    <a:pt x="408" y="207"/>
                  </a:lnTo>
                  <a:lnTo>
                    <a:pt x="413" y="220"/>
                  </a:lnTo>
                  <a:lnTo>
                    <a:pt x="416" y="242"/>
                  </a:lnTo>
                  <a:lnTo>
                    <a:pt x="416" y="252"/>
                  </a:lnTo>
                  <a:lnTo>
                    <a:pt x="416" y="265"/>
                  </a:lnTo>
                  <a:lnTo>
                    <a:pt x="416" y="277"/>
                  </a:lnTo>
                  <a:lnTo>
                    <a:pt x="412" y="281"/>
                  </a:lnTo>
                  <a:lnTo>
                    <a:pt x="408" y="287"/>
                  </a:lnTo>
                  <a:lnTo>
                    <a:pt x="408" y="293"/>
                  </a:lnTo>
                  <a:lnTo>
                    <a:pt x="411" y="302"/>
                  </a:lnTo>
                  <a:lnTo>
                    <a:pt x="408" y="313"/>
                  </a:lnTo>
                  <a:lnTo>
                    <a:pt x="405" y="322"/>
                  </a:lnTo>
                  <a:lnTo>
                    <a:pt x="400" y="325"/>
                  </a:lnTo>
                  <a:lnTo>
                    <a:pt x="397" y="327"/>
                  </a:lnTo>
                  <a:lnTo>
                    <a:pt x="399" y="321"/>
                  </a:lnTo>
                  <a:lnTo>
                    <a:pt x="401" y="317"/>
                  </a:lnTo>
                  <a:lnTo>
                    <a:pt x="403" y="312"/>
                  </a:lnTo>
                  <a:lnTo>
                    <a:pt x="400" y="312"/>
                  </a:lnTo>
                  <a:lnTo>
                    <a:pt x="391" y="316"/>
                  </a:lnTo>
                  <a:lnTo>
                    <a:pt x="386" y="318"/>
                  </a:lnTo>
                  <a:lnTo>
                    <a:pt x="382" y="316"/>
                  </a:lnTo>
                  <a:lnTo>
                    <a:pt x="377" y="319"/>
                  </a:lnTo>
                  <a:lnTo>
                    <a:pt x="374" y="321"/>
                  </a:lnTo>
                  <a:lnTo>
                    <a:pt x="369" y="320"/>
                  </a:lnTo>
                  <a:lnTo>
                    <a:pt x="365" y="317"/>
                  </a:lnTo>
                  <a:lnTo>
                    <a:pt x="362" y="314"/>
                  </a:lnTo>
                  <a:lnTo>
                    <a:pt x="363" y="312"/>
                  </a:lnTo>
                  <a:lnTo>
                    <a:pt x="365" y="312"/>
                  </a:lnTo>
                  <a:lnTo>
                    <a:pt x="374" y="313"/>
                  </a:lnTo>
                  <a:lnTo>
                    <a:pt x="377" y="312"/>
                  </a:lnTo>
                  <a:lnTo>
                    <a:pt x="375" y="309"/>
                  </a:lnTo>
                  <a:lnTo>
                    <a:pt x="372" y="307"/>
                  </a:lnTo>
                  <a:lnTo>
                    <a:pt x="366" y="308"/>
                  </a:lnTo>
                  <a:lnTo>
                    <a:pt x="361" y="305"/>
                  </a:lnTo>
                  <a:lnTo>
                    <a:pt x="357" y="297"/>
                  </a:lnTo>
                  <a:lnTo>
                    <a:pt x="352" y="291"/>
                  </a:lnTo>
                  <a:lnTo>
                    <a:pt x="350" y="286"/>
                  </a:lnTo>
                  <a:lnTo>
                    <a:pt x="347" y="282"/>
                  </a:lnTo>
                  <a:lnTo>
                    <a:pt x="338" y="280"/>
                  </a:lnTo>
                  <a:lnTo>
                    <a:pt x="333" y="277"/>
                  </a:lnTo>
                  <a:lnTo>
                    <a:pt x="327" y="275"/>
                  </a:lnTo>
                  <a:lnTo>
                    <a:pt x="321" y="260"/>
                  </a:lnTo>
                  <a:lnTo>
                    <a:pt x="319" y="253"/>
                  </a:lnTo>
                  <a:lnTo>
                    <a:pt x="315" y="249"/>
                  </a:lnTo>
                  <a:lnTo>
                    <a:pt x="313" y="246"/>
                  </a:lnTo>
                  <a:lnTo>
                    <a:pt x="309" y="243"/>
                  </a:lnTo>
                  <a:lnTo>
                    <a:pt x="305" y="240"/>
                  </a:lnTo>
                  <a:lnTo>
                    <a:pt x="306" y="234"/>
                  </a:lnTo>
                  <a:lnTo>
                    <a:pt x="306" y="230"/>
                  </a:lnTo>
                  <a:lnTo>
                    <a:pt x="302" y="223"/>
                  </a:lnTo>
                  <a:lnTo>
                    <a:pt x="299" y="224"/>
                  </a:lnTo>
                  <a:lnTo>
                    <a:pt x="298" y="226"/>
                  </a:lnTo>
                  <a:lnTo>
                    <a:pt x="299" y="234"/>
                  </a:lnTo>
                  <a:lnTo>
                    <a:pt x="296" y="234"/>
                  </a:lnTo>
                  <a:lnTo>
                    <a:pt x="293" y="232"/>
                  </a:lnTo>
                  <a:lnTo>
                    <a:pt x="289" y="226"/>
                  </a:lnTo>
                  <a:lnTo>
                    <a:pt x="281" y="216"/>
                  </a:lnTo>
                  <a:lnTo>
                    <a:pt x="277" y="212"/>
                  </a:lnTo>
                  <a:lnTo>
                    <a:pt x="277" y="209"/>
                  </a:lnTo>
                  <a:lnTo>
                    <a:pt x="277" y="206"/>
                  </a:lnTo>
                  <a:lnTo>
                    <a:pt x="274" y="202"/>
                  </a:lnTo>
                  <a:lnTo>
                    <a:pt x="270" y="199"/>
                  </a:lnTo>
                  <a:lnTo>
                    <a:pt x="274" y="191"/>
                  </a:lnTo>
                  <a:lnTo>
                    <a:pt x="277" y="187"/>
                  </a:lnTo>
                  <a:lnTo>
                    <a:pt x="279" y="183"/>
                  </a:lnTo>
                  <a:lnTo>
                    <a:pt x="280" y="178"/>
                  </a:lnTo>
                  <a:lnTo>
                    <a:pt x="277" y="174"/>
                  </a:lnTo>
                  <a:lnTo>
                    <a:pt x="276" y="180"/>
                  </a:lnTo>
                  <a:lnTo>
                    <a:pt x="272" y="178"/>
                  </a:lnTo>
                  <a:lnTo>
                    <a:pt x="272" y="174"/>
                  </a:lnTo>
                  <a:lnTo>
                    <a:pt x="269" y="170"/>
                  </a:lnTo>
                  <a:lnTo>
                    <a:pt x="267" y="170"/>
                  </a:lnTo>
                  <a:lnTo>
                    <a:pt x="267" y="171"/>
                  </a:lnTo>
                  <a:lnTo>
                    <a:pt x="269" y="174"/>
                  </a:lnTo>
                  <a:lnTo>
                    <a:pt x="270" y="178"/>
                  </a:lnTo>
                  <a:lnTo>
                    <a:pt x="271" y="183"/>
                  </a:lnTo>
                  <a:lnTo>
                    <a:pt x="271" y="185"/>
                  </a:lnTo>
                  <a:lnTo>
                    <a:pt x="268" y="187"/>
                  </a:lnTo>
                  <a:lnTo>
                    <a:pt x="265" y="185"/>
                  </a:lnTo>
                  <a:lnTo>
                    <a:pt x="263" y="183"/>
                  </a:lnTo>
                  <a:lnTo>
                    <a:pt x="258" y="176"/>
                  </a:lnTo>
                  <a:lnTo>
                    <a:pt x="256" y="172"/>
                  </a:lnTo>
                  <a:lnTo>
                    <a:pt x="256" y="166"/>
                  </a:lnTo>
                  <a:lnTo>
                    <a:pt x="256" y="158"/>
                  </a:lnTo>
                  <a:lnTo>
                    <a:pt x="259" y="152"/>
                  </a:lnTo>
                  <a:lnTo>
                    <a:pt x="262" y="141"/>
                  </a:lnTo>
                  <a:lnTo>
                    <a:pt x="262" y="134"/>
                  </a:lnTo>
                  <a:lnTo>
                    <a:pt x="260" y="124"/>
                  </a:lnTo>
                  <a:lnTo>
                    <a:pt x="256" y="114"/>
                  </a:lnTo>
                  <a:lnTo>
                    <a:pt x="254" y="110"/>
                  </a:lnTo>
                  <a:lnTo>
                    <a:pt x="248" y="104"/>
                  </a:lnTo>
                  <a:lnTo>
                    <a:pt x="240" y="102"/>
                  </a:lnTo>
                  <a:lnTo>
                    <a:pt x="237" y="102"/>
                  </a:lnTo>
                  <a:lnTo>
                    <a:pt x="233" y="97"/>
                  </a:lnTo>
                  <a:lnTo>
                    <a:pt x="229" y="94"/>
                  </a:lnTo>
                  <a:lnTo>
                    <a:pt x="223" y="89"/>
                  </a:lnTo>
                  <a:lnTo>
                    <a:pt x="217" y="86"/>
                  </a:lnTo>
                  <a:lnTo>
                    <a:pt x="215" y="80"/>
                  </a:lnTo>
                  <a:lnTo>
                    <a:pt x="211" y="77"/>
                  </a:lnTo>
                  <a:lnTo>
                    <a:pt x="204" y="69"/>
                  </a:lnTo>
                  <a:lnTo>
                    <a:pt x="198" y="64"/>
                  </a:lnTo>
                  <a:lnTo>
                    <a:pt x="191" y="60"/>
                  </a:lnTo>
                  <a:lnTo>
                    <a:pt x="186" y="56"/>
                  </a:lnTo>
                  <a:lnTo>
                    <a:pt x="182" y="54"/>
                  </a:lnTo>
                  <a:lnTo>
                    <a:pt x="174" y="54"/>
                  </a:lnTo>
                  <a:lnTo>
                    <a:pt x="167" y="57"/>
                  </a:lnTo>
                  <a:lnTo>
                    <a:pt x="165" y="60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2" y="67"/>
                  </a:lnTo>
                  <a:lnTo>
                    <a:pt x="160" y="65"/>
                  </a:lnTo>
                  <a:lnTo>
                    <a:pt x="152" y="71"/>
                  </a:lnTo>
                  <a:lnTo>
                    <a:pt x="144" y="78"/>
                  </a:lnTo>
                  <a:lnTo>
                    <a:pt x="133" y="81"/>
                  </a:lnTo>
                  <a:lnTo>
                    <a:pt x="119" y="85"/>
                  </a:lnTo>
                  <a:lnTo>
                    <a:pt x="117" y="77"/>
                  </a:lnTo>
                  <a:lnTo>
                    <a:pt x="114" y="72"/>
                  </a:lnTo>
                  <a:lnTo>
                    <a:pt x="110" y="70"/>
                  </a:lnTo>
                  <a:lnTo>
                    <a:pt x="103" y="67"/>
                  </a:lnTo>
                  <a:lnTo>
                    <a:pt x="108" y="64"/>
                  </a:lnTo>
                  <a:lnTo>
                    <a:pt x="109" y="62"/>
                  </a:lnTo>
                  <a:lnTo>
                    <a:pt x="100" y="61"/>
                  </a:lnTo>
                  <a:lnTo>
                    <a:pt x="100" y="57"/>
                  </a:lnTo>
                  <a:lnTo>
                    <a:pt x="101" y="56"/>
                  </a:lnTo>
                  <a:lnTo>
                    <a:pt x="105" y="53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98" y="54"/>
                  </a:lnTo>
                  <a:lnTo>
                    <a:pt x="96" y="53"/>
                  </a:lnTo>
                  <a:lnTo>
                    <a:pt x="89" y="53"/>
                  </a:lnTo>
                  <a:lnTo>
                    <a:pt x="91" y="56"/>
                  </a:lnTo>
                  <a:lnTo>
                    <a:pt x="93" y="57"/>
                  </a:lnTo>
                  <a:lnTo>
                    <a:pt x="95" y="62"/>
                  </a:lnTo>
                  <a:lnTo>
                    <a:pt x="92" y="62"/>
                  </a:lnTo>
                  <a:lnTo>
                    <a:pt x="88" y="60"/>
                  </a:lnTo>
                  <a:lnTo>
                    <a:pt x="82" y="55"/>
                  </a:lnTo>
                  <a:lnTo>
                    <a:pt x="76" y="54"/>
                  </a:lnTo>
                  <a:lnTo>
                    <a:pt x="62" y="53"/>
                  </a:lnTo>
                  <a:lnTo>
                    <a:pt x="58" y="51"/>
                  </a:lnTo>
                  <a:lnTo>
                    <a:pt x="55" y="49"/>
                  </a:lnTo>
                  <a:lnTo>
                    <a:pt x="50" y="48"/>
                  </a:lnTo>
                  <a:lnTo>
                    <a:pt x="37" y="51"/>
                  </a:lnTo>
                  <a:lnTo>
                    <a:pt x="27" y="51"/>
                  </a:lnTo>
                  <a:lnTo>
                    <a:pt x="19" y="55"/>
                  </a:lnTo>
                  <a:lnTo>
                    <a:pt x="15" y="57"/>
                  </a:lnTo>
                  <a:lnTo>
                    <a:pt x="10" y="46"/>
                  </a:lnTo>
                  <a:lnTo>
                    <a:pt x="8" y="40"/>
                  </a:lnTo>
                  <a:lnTo>
                    <a:pt x="3" y="33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3" y="24"/>
                  </a:lnTo>
                  <a:lnTo>
                    <a:pt x="13" y="21"/>
                  </a:lnTo>
                  <a:lnTo>
                    <a:pt x="26" y="19"/>
                  </a:lnTo>
                  <a:lnTo>
                    <a:pt x="132" y="9"/>
                  </a:lnTo>
                  <a:lnTo>
                    <a:pt x="139" y="25"/>
                  </a:lnTo>
                  <a:lnTo>
                    <a:pt x="270" y="17"/>
                  </a:lnTo>
                  <a:lnTo>
                    <a:pt x="272" y="28"/>
                  </a:lnTo>
                  <a:lnTo>
                    <a:pt x="281" y="28"/>
                  </a:lnTo>
                  <a:lnTo>
                    <a:pt x="278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3">
              <a:extLst>
                <a:ext uri="{FF2B5EF4-FFF2-40B4-BE49-F238E27FC236}">
                  <a16:creationId xmlns:a16="http://schemas.microsoft.com/office/drawing/2014/main" id="{EB38C165-D433-D833-A9FB-B839D0925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1191" y="8777274"/>
              <a:ext cx="1063014" cy="944446"/>
            </a:xfrm>
            <a:custGeom>
              <a:avLst/>
              <a:gdLst>
                <a:gd name="T0" fmla="*/ 252 w 260"/>
                <a:gd name="T1" fmla="*/ 210 h 231"/>
                <a:gd name="T2" fmla="*/ 244 w 260"/>
                <a:gd name="T3" fmla="*/ 209 h 231"/>
                <a:gd name="T4" fmla="*/ 228 w 260"/>
                <a:gd name="T5" fmla="*/ 199 h 231"/>
                <a:gd name="T6" fmla="*/ 217 w 260"/>
                <a:gd name="T7" fmla="*/ 191 h 231"/>
                <a:gd name="T8" fmla="*/ 222 w 260"/>
                <a:gd name="T9" fmla="*/ 186 h 231"/>
                <a:gd name="T10" fmla="*/ 237 w 260"/>
                <a:gd name="T11" fmla="*/ 184 h 231"/>
                <a:gd name="T12" fmla="*/ 231 w 260"/>
                <a:gd name="T13" fmla="*/ 169 h 231"/>
                <a:gd name="T14" fmla="*/ 210 w 260"/>
                <a:gd name="T15" fmla="*/ 175 h 231"/>
                <a:gd name="T16" fmla="*/ 211 w 260"/>
                <a:gd name="T17" fmla="*/ 170 h 231"/>
                <a:gd name="T18" fmla="*/ 220 w 260"/>
                <a:gd name="T19" fmla="*/ 162 h 231"/>
                <a:gd name="T20" fmla="*/ 214 w 260"/>
                <a:gd name="T21" fmla="*/ 142 h 231"/>
                <a:gd name="T22" fmla="*/ 120 w 260"/>
                <a:gd name="T23" fmla="*/ 117 h 231"/>
                <a:gd name="T24" fmla="*/ 120 w 260"/>
                <a:gd name="T25" fmla="*/ 105 h 231"/>
                <a:gd name="T26" fmla="*/ 123 w 260"/>
                <a:gd name="T27" fmla="*/ 91 h 231"/>
                <a:gd name="T28" fmla="*/ 128 w 260"/>
                <a:gd name="T29" fmla="*/ 83 h 231"/>
                <a:gd name="T30" fmla="*/ 138 w 260"/>
                <a:gd name="T31" fmla="*/ 61 h 231"/>
                <a:gd name="T32" fmla="*/ 141 w 260"/>
                <a:gd name="T33" fmla="*/ 52 h 231"/>
                <a:gd name="T34" fmla="*/ 145 w 260"/>
                <a:gd name="T35" fmla="*/ 33 h 231"/>
                <a:gd name="T36" fmla="*/ 138 w 260"/>
                <a:gd name="T37" fmla="*/ 20 h 231"/>
                <a:gd name="T38" fmla="*/ 134 w 260"/>
                <a:gd name="T39" fmla="*/ 13 h 231"/>
                <a:gd name="T40" fmla="*/ 138 w 260"/>
                <a:gd name="T41" fmla="*/ 3 h 231"/>
                <a:gd name="T42" fmla="*/ 0 w 260"/>
                <a:gd name="T43" fmla="*/ 67 h 231"/>
                <a:gd name="T44" fmla="*/ 15 w 260"/>
                <a:gd name="T45" fmla="*/ 92 h 231"/>
                <a:gd name="T46" fmla="*/ 18 w 260"/>
                <a:gd name="T47" fmla="*/ 107 h 231"/>
                <a:gd name="T48" fmla="*/ 18 w 260"/>
                <a:gd name="T49" fmla="*/ 135 h 231"/>
                <a:gd name="T50" fmla="*/ 12 w 260"/>
                <a:gd name="T51" fmla="*/ 156 h 231"/>
                <a:gd name="T52" fmla="*/ 12 w 260"/>
                <a:gd name="T53" fmla="*/ 187 h 231"/>
                <a:gd name="T54" fmla="*/ 20 w 260"/>
                <a:gd name="T55" fmla="*/ 194 h 231"/>
                <a:gd name="T56" fmla="*/ 35 w 260"/>
                <a:gd name="T57" fmla="*/ 192 h 231"/>
                <a:gd name="T58" fmla="*/ 62 w 260"/>
                <a:gd name="T59" fmla="*/ 199 h 231"/>
                <a:gd name="T60" fmla="*/ 103 w 260"/>
                <a:gd name="T61" fmla="*/ 203 h 231"/>
                <a:gd name="T62" fmla="*/ 111 w 260"/>
                <a:gd name="T63" fmla="*/ 198 h 231"/>
                <a:gd name="T64" fmla="*/ 98 w 260"/>
                <a:gd name="T65" fmla="*/ 195 h 231"/>
                <a:gd name="T66" fmla="*/ 109 w 260"/>
                <a:gd name="T67" fmla="*/ 190 h 231"/>
                <a:gd name="T68" fmla="*/ 138 w 260"/>
                <a:gd name="T69" fmla="*/ 203 h 231"/>
                <a:gd name="T70" fmla="*/ 139 w 260"/>
                <a:gd name="T71" fmla="*/ 215 h 231"/>
                <a:gd name="T72" fmla="*/ 158 w 260"/>
                <a:gd name="T73" fmla="*/ 223 h 231"/>
                <a:gd name="T74" fmla="*/ 173 w 260"/>
                <a:gd name="T75" fmla="*/ 221 h 231"/>
                <a:gd name="T76" fmla="*/ 188 w 260"/>
                <a:gd name="T77" fmla="*/ 214 h 231"/>
                <a:gd name="T78" fmla="*/ 202 w 260"/>
                <a:gd name="T79" fmla="*/ 219 h 231"/>
                <a:gd name="T80" fmla="*/ 202 w 260"/>
                <a:gd name="T81" fmla="*/ 202 h 231"/>
                <a:gd name="T82" fmla="*/ 215 w 260"/>
                <a:gd name="T83" fmla="*/ 210 h 231"/>
                <a:gd name="T84" fmla="*/ 239 w 260"/>
                <a:gd name="T85" fmla="*/ 221 h 231"/>
                <a:gd name="T86" fmla="*/ 241 w 260"/>
                <a:gd name="T87" fmla="*/ 231 h 231"/>
                <a:gd name="T88" fmla="*/ 250 w 260"/>
                <a:gd name="T89" fmla="*/ 226 h 231"/>
                <a:gd name="T90" fmla="*/ 258 w 260"/>
                <a:gd name="T91" fmla="*/ 22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0" h="231">
                  <a:moveTo>
                    <a:pt x="257" y="214"/>
                  </a:moveTo>
                  <a:lnTo>
                    <a:pt x="255" y="212"/>
                  </a:lnTo>
                  <a:lnTo>
                    <a:pt x="252" y="210"/>
                  </a:lnTo>
                  <a:lnTo>
                    <a:pt x="249" y="210"/>
                  </a:lnTo>
                  <a:lnTo>
                    <a:pt x="247" y="210"/>
                  </a:lnTo>
                  <a:lnTo>
                    <a:pt x="244" y="209"/>
                  </a:lnTo>
                  <a:lnTo>
                    <a:pt x="237" y="205"/>
                  </a:lnTo>
                  <a:lnTo>
                    <a:pt x="234" y="204"/>
                  </a:lnTo>
                  <a:lnTo>
                    <a:pt x="228" y="199"/>
                  </a:lnTo>
                  <a:lnTo>
                    <a:pt x="225" y="197"/>
                  </a:lnTo>
                  <a:lnTo>
                    <a:pt x="221" y="195"/>
                  </a:lnTo>
                  <a:lnTo>
                    <a:pt x="217" y="191"/>
                  </a:lnTo>
                  <a:lnTo>
                    <a:pt x="215" y="190"/>
                  </a:lnTo>
                  <a:lnTo>
                    <a:pt x="218" y="188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7" y="184"/>
                  </a:lnTo>
                  <a:lnTo>
                    <a:pt x="239" y="181"/>
                  </a:lnTo>
                  <a:lnTo>
                    <a:pt x="235" y="173"/>
                  </a:lnTo>
                  <a:lnTo>
                    <a:pt x="231" y="169"/>
                  </a:lnTo>
                  <a:lnTo>
                    <a:pt x="229" y="169"/>
                  </a:lnTo>
                  <a:lnTo>
                    <a:pt x="215" y="174"/>
                  </a:lnTo>
                  <a:lnTo>
                    <a:pt x="210" y="175"/>
                  </a:lnTo>
                  <a:lnTo>
                    <a:pt x="206" y="175"/>
                  </a:lnTo>
                  <a:lnTo>
                    <a:pt x="207" y="173"/>
                  </a:lnTo>
                  <a:lnTo>
                    <a:pt x="211" y="170"/>
                  </a:lnTo>
                  <a:lnTo>
                    <a:pt x="216" y="169"/>
                  </a:lnTo>
                  <a:lnTo>
                    <a:pt x="220" y="166"/>
                  </a:lnTo>
                  <a:lnTo>
                    <a:pt x="220" y="162"/>
                  </a:lnTo>
                  <a:lnTo>
                    <a:pt x="220" y="158"/>
                  </a:lnTo>
                  <a:lnTo>
                    <a:pt x="218" y="147"/>
                  </a:lnTo>
                  <a:lnTo>
                    <a:pt x="214" y="142"/>
                  </a:lnTo>
                  <a:lnTo>
                    <a:pt x="210" y="136"/>
                  </a:lnTo>
                  <a:lnTo>
                    <a:pt x="212" y="114"/>
                  </a:lnTo>
                  <a:lnTo>
                    <a:pt x="120" y="117"/>
                  </a:lnTo>
                  <a:lnTo>
                    <a:pt x="118" y="112"/>
                  </a:lnTo>
                  <a:lnTo>
                    <a:pt x="118" y="107"/>
                  </a:lnTo>
                  <a:lnTo>
                    <a:pt x="120" y="105"/>
                  </a:lnTo>
                  <a:lnTo>
                    <a:pt x="123" y="101"/>
                  </a:lnTo>
                  <a:lnTo>
                    <a:pt x="123" y="94"/>
                  </a:lnTo>
                  <a:lnTo>
                    <a:pt x="123" y="91"/>
                  </a:lnTo>
                  <a:lnTo>
                    <a:pt x="124" y="88"/>
                  </a:lnTo>
                  <a:lnTo>
                    <a:pt x="127" y="85"/>
                  </a:lnTo>
                  <a:lnTo>
                    <a:pt x="128" y="83"/>
                  </a:lnTo>
                  <a:lnTo>
                    <a:pt x="129" y="72"/>
                  </a:lnTo>
                  <a:lnTo>
                    <a:pt x="132" y="70"/>
                  </a:lnTo>
                  <a:lnTo>
                    <a:pt x="138" y="61"/>
                  </a:lnTo>
                  <a:lnTo>
                    <a:pt x="139" y="58"/>
                  </a:lnTo>
                  <a:lnTo>
                    <a:pt x="138" y="52"/>
                  </a:lnTo>
                  <a:lnTo>
                    <a:pt x="141" y="52"/>
                  </a:lnTo>
                  <a:lnTo>
                    <a:pt x="145" y="48"/>
                  </a:lnTo>
                  <a:lnTo>
                    <a:pt x="147" y="38"/>
                  </a:lnTo>
                  <a:lnTo>
                    <a:pt x="145" y="33"/>
                  </a:lnTo>
                  <a:lnTo>
                    <a:pt x="140" y="30"/>
                  </a:lnTo>
                  <a:lnTo>
                    <a:pt x="140" y="27"/>
                  </a:lnTo>
                  <a:lnTo>
                    <a:pt x="138" y="20"/>
                  </a:lnTo>
                  <a:lnTo>
                    <a:pt x="139" y="18"/>
                  </a:lnTo>
                  <a:lnTo>
                    <a:pt x="138" y="16"/>
                  </a:lnTo>
                  <a:lnTo>
                    <a:pt x="134" y="13"/>
                  </a:lnTo>
                  <a:lnTo>
                    <a:pt x="138" y="10"/>
                  </a:lnTo>
                  <a:lnTo>
                    <a:pt x="139" y="7"/>
                  </a:lnTo>
                  <a:lnTo>
                    <a:pt x="138" y="3"/>
                  </a:lnTo>
                  <a:lnTo>
                    <a:pt x="134" y="0"/>
                  </a:lnTo>
                  <a:lnTo>
                    <a:pt x="0" y="4"/>
                  </a:lnTo>
                  <a:lnTo>
                    <a:pt x="0" y="67"/>
                  </a:lnTo>
                  <a:lnTo>
                    <a:pt x="9" y="76"/>
                  </a:lnTo>
                  <a:lnTo>
                    <a:pt x="9" y="79"/>
                  </a:lnTo>
                  <a:lnTo>
                    <a:pt x="15" y="92"/>
                  </a:lnTo>
                  <a:lnTo>
                    <a:pt x="17" y="95"/>
                  </a:lnTo>
                  <a:lnTo>
                    <a:pt x="17" y="103"/>
                  </a:lnTo>
                  <a:lnTo>
                    <a:pt x="18" y="107"/>
                  </a:lnTo>
                  <a:lnTo>
                    <a:pt x="21" y="119"/>
                  </a:lnTo>
                  <a:lnTo>
                    <a:pt x="22" y="127"/>
                  </a:lnTo>
                  <a:lnTo>
                    <a:pt x="18" y="135"/>
                  </a:lnTo>
                  <a:lnTo>
                    <a:pt x="14" y="145"/>
                  </a:lnTo>
                  <a:lnTo>
                    <a:pt x="13" y="150"/>
                  </a:lnTo>
                  <a:lnTo>
                    <a:pt x="12" y="156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87"/>
                  </a:lnTo>
                  <a:lnTo>
                    <a:pt x="8" y="194"/>
                  </a:lnTo>
                  <a:lnTo>
                    <a:pt x="13" y="194"/>
                  </a:lnTo>
                  <a:lnTo>
                    <a:pt x="20" y="194"/>
                  </a:lnTo>
                  <a:lnTo>
                    <a:pt x="25" y="192"/>
                  </a:lnTo>
                  <a:lnTo>
                    <a:pt x="29" y="192"/>
                  </a:lnTo>
                  <a:lnTo>
                    <a:pt x="35" y="192"/>
                  </a:lnTo>
                  <a:lnTo>
                    <a:pt x="48" y="194"/>
                  </a:lnTo>
                  <a:lnTo>
                    <a:pt x="55" y="196"/>
                  </a:lnTo>
                  <a:lnTo>
                    <a:pt x="62" y="199"/>
                  </a:lnTo>
                  <a:lnTo>
                    <a:pt x="72" y="203"/>
                  </a:lnTo>
                  <a:lnTo>
                    <a:pt x="90" y="203"/>
                  </a:lnTo>
                  <a:lnTo>
                    <a:pt x="103" y="203"/>
                  </a:lnTo>
                  <a:lnTo>
                    <a:pt x="112" y="203"/>
                  </a:lnTo>
                  <a:lnTo>
                    <a:pt x="114" y="201"/>
                  </a:lnTo>
                  <a:lnTo>
                    <a:pt x="111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98" y="195"/>
                  </a:lnTo>
                  <a:lnTo>
                    <a:pt x="100" y="192"/>
                  </a:lnTo>
                  <a:lnTo>
                    <a:pt x="103" y="190"/>
                  </a:lnTo>
                  <a:lnTo>
                    <a:pt x="109" y="190"/>
                  </a:lnTo>
                  <a:lnTo>
                    <a:pt x="119" y="193"/>
                  </a:lnTo>
                  <a:lnTo>
                    <a:pt x="129" y="201"/>
                  </a:lnTo>
                  <a:lnTo>
                    <a:pt x="138" y="203"/>
                  </a:lnTo>
                  <a:lnTo>
                    <a:pt x="144" y="200"/>
                  </a:lnTo>
                  <a:lnTo>
                    <a:pt x="142" y="206"/>
                  </a:lnTo>
                  <a:lnTo>
                    <a:pt x="139" y="215"/>
                  </a:lnTo>
                  <a:lnTo>
                    <a:pt x="142" y="218"/>
                  </a:lnTo>
                  <a:lnTo>
                    <a:pt x="150" y="223"/>
                  </a:lnTo>
                  <a:lnTo>
                    <a:pt x="158" y="223"/>
                  </a:lnTo>
                  <a:lnTo>
                    <a:pt x="164" y="226"/>
                  </a:lnTo>
                  <a:lnTo>
                    <a:pt x="169" y="226"/>
                  </a:lnTo>
                  <a:lnTo>
                    <a:pt x="173" y="221"/>
                  </a:lnTo>
                  <a:lnTo>
                    <a:pt x="178" y="214"/>
                  </a:lnTo>
                  <a:lnTo>
                    <a:pt x="182" y="213"/>
                  </a:lnTo>
                  <a:lnTo>
                    <a:pt x="188" y="214"/>
                  </a:lnTo>
                  <a:lnTo>
                    <a:pt x="194" y="222"/>
                  </a:lnTo>
                  <a:lnTo>
                    <a:pt x="200" y="222"/>
                  </a:lnTo>
                  <a:lnTo>
                    <a:pt x="202" y="219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202" y="202"/>
                  </a:lnTo>
                  <a:lnTo>
                    <a:pt x="208" y="202"/>
                  </a:lnTo>
                  <a:lnTo>
                    <a:pt x="215" y="204"/>
                  </a:lnTo>
                  <a:lnTo>
                    <a:pt x="215" y="210"/>
                  </a:lnTo>
                  <a:lnTo>
                    <a:pt x="224" y="211"/>
                  </a:lnTo>
                  <a:lnTo>
                    <a:pt x="234" y="216"/>
                  </a:lnTo>
                  <a:lnTo>
                    <a:pt x="239" y="221"/>
                  </a:lnTo>
                  <a:lnTo>
                    <a:pt x="237" y="224"/>
                  </a:lnTo>
                  <a:lnTo>
                    <a:pt x="236" y="231"/>
                  </a:lnTo>
                  <a:lnTo>
                    <a:pt x="241" y="231"/>
                  </a:lnTo>
                  <a:lnTo>
                    <a:pt x="243" y="226"/>
                  </a:lnTo>
                  <a:lnTo>
                    <a:pt x="247" y="223"/>
                  </a:lnTo>
                  <a:lnTo>
                    <a:pt x="250" y="226"/>
                  </a:lnTo>
                  <a:lnTo>
                    <a:pt x="252" y="228"/>
                  </a:lnTo>
                  <a:lnTo>
                    <a:pt x="254" y="224"/>
                  </a:lnTo>
                  <a:lnTo>
                    <a:pt x="258" y="221"/>
                  </a:lnTo>
                  <a:lnTo>
                    <a:pt x="260" y="218"/>
                  </a:lnTo>
                  <a:lnTo>
                    <a:pt x="257" y="214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id="{C4673B0A-A804-E79C-BFCA-5421CB807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0359" y="7935040"/>
              <a:ext cx="952625" cy="858588"/>
            </a:xfrm>
            <a:custGeom>
              <a:avLst/>
              <a:gdLst>
                <a:gd name="T0" fmla="*/ 9 w 233"/>
                <a:gd name="T1" fmla="*/ 176 h 210"/>
                <a:gd name="T2" fmla="*/ 5 w 233"/>
                <a:gd name="T3" fmla="*/ 173 h 210"/>
                <a:gd name="T4" fmla="*/ 9 w 233"/>
                <a:gd name="T5" fmla="*/ 177 h 210"/>
                <a:gd name="T6" fmla="*/ 13 w 233"/>
                <a:gd name="T7" fmla="*/ 178 h 210"/>
                <a:gd name="T8" fmla="*/ 16 w 233"/>
                <a:gd name="T9" fmla="*/ 176 h 210"/>
                <a:gd name="T10" fmla="*/ 32 w 233"/>
                <a:gd name="T11" fmla="*/ 177 h 210"/>
                <a:gd name="T12" fmla="*/ 32 w 233"/>
                <a:gd name="T13" fmla="*/ 210 h 210"/>
                <a:gd name="T14" fmla="*/ 166 w 233"/>
                <a:gd name="T15" fmla="*/ 206 h 210"/>
                <a:gd name="T16" fmla="*/ 167 w 233"/>
                <a:gd name="T17" fmla="*/ 207 h 210"/>
                <a:gd name="T18" fmla="*/ 170 w 233"/>
                <a:gd name="T19" fmla="*/ 199 h 210"/>
                <a:gd name="T20" fmla="*/ 171 w 233"/>
                <a:gd name="T21" fmla="*/ 195 h 210"/>
                <a:gd name="T22" fmla="*/ 169 w 233"/>
                <a:gd name="T23" fmla="*/ 191 h 210"/>
                <a:gd name="T24" fmla="*/ 169 w 233"/>
                <a:gd name="T25" fmla="*/ 182 h 210"/>
                <a:gd name="T26" fmla="*/ 170 w 233"/>
                <a:gd name="T27" fmla="*/ 179 h 210"/>
                <a:gd name="T28" fmla="*/ 168 w 233"/>
                <a:gd name="T29" fmla="*/ 175 h 210"/>
                <a:gd name="T30" fmla="*/ 165 w 233"/>
                <a:gd name="T31" fmla="*/ 173 h 210"/>
                <a:gd name="T32" fmla="*/ 165 w 233"/>
                <a:gd name="T33" fmla="*/ 170 h 210"/>
                <a:gd name="T34" fmla="*/ 167 w 233"/>
                <a:gd name="T35" fmla="*/ 168 h 210"/>
                <a:gd name="T36" fmla="*/ 166 w 233"/>
                <a:gd name="T37" fmla="*/ 166 h 210"/>
                <a:gd name="T38" fmla="*/ 168 w 233"/>
                <a:gd name="T39" fmla="*/ 161 h 210"/>
                <a:gd name="T40" fmla="*/ 172 w 233"/>
                <a:gd name="T41" fmla="*/ 157 h 210"/>
                <a:gd name="T42" fmla="*/ 174 w 233"/>
                <a:gd name="T43" fmla="*/ 157 h 210"/>
                <a:gd name="T44" fmla="*/ 174 w 233"/>
                <a:gd name="T45" fmla="*/ 152 h 210"/>
                <a:gd name="T46" fmla="*/ 175 w 233"/>
                <a:gd name="T47" fmla="*/ 147 h 210"/>
                <a:gd name="T48" fmla="*/ 178 w 233"/>
                <a:gd name="T49" fmla="*/ 143 h 210"/>
                <a:gd name="T50" fmla="*/ 176 w 233"/>
                <a:gd name="T51" fmla="*/ 142 h 210"/>
                <a:gd name="T52" fmla="*/ 177 w 233"/>
                <a:gd name="T53" fmla="*/ 136 h 210"/>
                <a:gd name="T54" fmla="*/ 182 w 233"/>
                <a:gd name="T55" fmla="*/ 131 h 210"/>
                <a:gd name="T56" fmla="*/ 189 w 233"/>
                <a:gd name="T57" fmla="*/ 123 h 210"/>
                <a:gd name="T58" fmla="*/ 193 w 233"/>
                <a:gd name="T59" fmla="*/ 117 h 210"/>
                <a:gd name="T60" fmla="*/ 193 w 233"/>
                <a:gd name="T61" fmla="*/ 111 h 210"/>
                <a:gd name="T62" fmla="*/ 195 w 233"/>
                <a:gd name="T63" fmla="*/ 103 h 210"/>
                <a:gd name="T64" fmla="*/ 198 w 233"/>
                <a:gd name="T65" fmla="*/ 103 h 210"/>
                <a:gd name="T66" fmla="*/ 199 w 233"/>
                <a:gd name="T67" fmla="*/ 100 h 210"/>
                <a:gd name="T68" fmla="*/ 201 w 233"/>
                <a:gd name="T69" fmla="*/ 96 h 210"/>
                <a:gd name="T70" fmla="*/ 205 w 233"/>
                <a:gd name="T71" fmla="*/ 93 h 210"/>
                <a:gd name="T72" fmla="*/ 209 w 233"/>
                <a:gd name="T73" fmla="*/ 90 h 210"/>
                <a:gd name="T74" fmla="*/ 208 w 233"/>
                <a:gd name="T75" fmla="*/ 86 h 210"/>
                <a:gd name="T76" fmla="*/ 210 w 233"/>
                <a:gd name="T77" fmla="*/ 83 h 210"/>
                <a:gd name="T78" fmla="*/ 214 w 233"/>
                <a:gd name="T79" fmla="*/ 77 h 210"/>
                <a:gd name="T80" fmla="*/ 214 w 233"/>
                <a:gd name="T81" fmla="*/ 68 h 210"/>
                <a:gd name="T82" fmla="*/ 214 w 233"/>
                <a:gd name="T83" fmla="*/ 61 h 210"/>
                <a:gd name="T84" fmla="*/ 218 w 233"/>
                <a:gd name="T85" fmla="*/ 55 h 210"/>
                <a:gd name="T86" fmla="*/ 223 w 233"/>
                <a:gd name="T87" fmla="*/ 52 h 210"/>
                <a:gd name="T88" fmla="*/ 223 w 233"/>
                <a:gd name="T89" fmla="*/ 50 h 210"/>
                <a:gd name="T90" fmla="*/ 224 w 233"/>
                <a:gd name="T91" fmla="*/ 47 h 210"/>
                <a:gd name="T92" fmla="*/ 225 w 233"/>
                <a:gd name="T93" fmla="*/ 41 h 210"/>
                <a:gd name="T94" fmla="*/ 227 w 233"/>
                <a:gd name="T95" fmla="*/ 40 h 210"/>
                <a:gd name="T96" fmla="*/ 231 w 233"/>
                <a:gd name="T97" fmla="*/ 36 h 210"/>
                <a:gd name="T98" fmla="*/ 232 w 233"/>
                <a:gd name="T99" fmla="*/ 34 h 210"/>
                <a:gd name="T100" fmla="*/ 233 w 233"/>
                <a:gd name="T101" fmla="*/ 32 h 210"/>
                <a:gd name="T102" fmla="*/ 233 w 233"/>
                <a:gd name="T103" fmla="*/ 27 h 210"/>
                <a:gd name="T104" fmla="*/ 198 w 233"/>
                <a:gd name="T105" fmla="*/ 29 h 210"/>
                <a:gd name="T106" fmla="*/ 211 w 233"/>
                <a:gd name="T107" fmla="*/ 8 h 210"/>
                <a:gd name="T108" fmla="*/ 210 w 233"/>
                <a:gd name="T109" fmla="*/ 0 h 210"/>
                <a:gd name="T110" fmla="*/ 0 w 233"/>
                <a:gd name="T111" fmla="*/ 5 h 210"/>
                <a:gd name="T112" fmla="*/ 10 w 233"/>
                <a:gd name="T113" fmla="*/ 67 h 210"/>
                <a:gd name="T114" fmla="*/ 9 w 233"/>
                <a:gd name="T115" fmla="*/ 17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" h="210">
                  <a:moveTo>
                    <a:pt x="9" y="176"/>
                  </a:moveTo>
                  <a:lnTo>
                    <a:pt x="5" y="173"/>
                  </a:lnTo>
                  <a:lnTo>
                    <a:pt x="9" y="177"/>
                  </a:lnTo>
                  <a:lnTo>
                    <a:pt x="13" y="178"/>
                  </a:lnTo>
                  <a:lnTo>
                    <a:pt x="16" y="176"/>
                  </a:lnTo>
                  <a:lnTo>
                    <a:pt x="32" y="177"/>
                  </a:lnTo>
                  <a:lnTo>
                    <a:pt x="32" y="210"/>
                  </a:lnTo>
                  <a:lnTo>
                    <a:pt x="166" y="206"/>
                  </a:lnTo>
                  <a:lnTo>
                    <a:pt x="167" y="207"/>
                  </a:lnTo>
                  <a:lnTo>
                    <a:pt x="170" y="199"/>
                  </a:lnTo>
                  <a:lnTo>
                    <a:pt x="171" y="195"/>
                  </a:lnTo>
                  <a:lnTo>
                    <a:pt x="169" y="191"/>
                  </a:lnTo>
                  <a:lnTo>
                    <a:pt x="169" y="182"/>
                  </a:lnTo>
                  <a:lnTo>
                    <a:pt x="170" y="179"/>
                  </a:lnTo>
                  <a:lnTo>
                    <a:pt x="168" y="175"/>
                  </a:lnTo>
                  <a:lnTo>
                    <a:pt x="165" y="173"/>
                  </a:lnTo>
                  <a:lnTo>
                    <a:pt x="165" y="170"/>
                  </a:lnTo>
                  <a:lnTo>
                    <a:pt x="167" y="168"/>
                  </a:lnTo>
                  <a:lnTo>
                    <a:pt x="166" y="166"/>
                  </a:lnTo>
                  <a:lnTo>
                    <a:pt x="168" y="161"/>
                  </a:lnTo>
                  <a:lnTo>
                    <a:pt x="172" y="157"/>
                  </a:lnTo>
                  <a:lnTo>
                    <a:pt x="174" y="157"/>
                  </a:lnTo>
                  <a:lnTo>
                    <a:pt x="174" y="152"/>
                  </a:lnTo>
                  <a:lnTo>
                    <a:pt x="175" y="147"/>
                  </a:lnTo>
                  <a:lnTo>
                    <a:pt x="178" y="143"/>
                  </a:lnTo>
                  <a:lnTo>
                    <a:pt x="176" y="142"/>
                  </a:lnTo>
                  <a:lnTo>
                    <a:pt x="177" y="136"/>
                  </a:lnTo>
                  <a:lnTo>
                    <a:pt x="182" y="131"/>
                  </a:lnTo>
                  <a:lnTo>
                    <a:pt x="189" y="123"/>
                  </a:lnTo>
                  <a:lnTo>
                    <a:pt x="193" y="117"/>
                  </a:lnTo>
                  <a:lnTo>
                    <a:pt x="193" y="111"/>
                  </a:lnTo>
                  <a:lnTo>
                    <a:pt x="195" y="103"/>
                  </a:lnTo>
                  <a:lnTo>
                    <a:pt x="198" y="103"/>
                  </a:lnTo>
                  <a:lnTo>
                    <a:pt x="199" y="100"/>
                  </a:lnTo>
                  <a:lnTo>
                    <a:pt x="201" y="96"/>
                  </a:lnTo>
                  <a:lnTo>
                    <a:pt x="205" y="93"/>
                  </a:lnTo>
                  <a:lnTo>
                    <a:pt x="209" y="90"/>
                  </a:lnTo>
                  <a:lnTo>
                    <a:pt x="208" y="86"/>
                  </a:lnTo>
                  <a:lnTo>
                    <a:pt x="210" y="83"/>
                  </a:lnTo>
                  <a:lnTo>
                    <a:pt x="214" y="77"/>
                  </a:lnTo>
                  <a:lnTo>
                    <a:pt x="214" y="68"/>
                  </a:lnTo>
                  <a:lnTo>
                    <a:pt x="214" y="61"/>
                  </a:lnTo>
                  <a:lnTo>
                    <a:pt x="218" y="55"/>
                  </a:lnTo>
                  <a:lnTo>
                    <a:pt x="223" y="52"/>
                  </a:lnTo>
                  <a:lnTo>
                    <a:pt x="223" y="50"/>
                  </a:lnTo>
                  <a:lnTo>
                    <a:pt x="224" y="47"/>
                  </a:lnTo>
                  <a:lnTo>
                    <a:pt x="225" y="41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2" y="34"/>
                  </a:lnTo>
                  <a:lnTo>
                    <a:pt x="233" y="32"/>
                  </a:lnTo>
                  <a:lnTo>
                    <a:pt x="233" y="27"/>
                  </a:lnTo>
                  <a:lnTo>
                    <a:pt x="198" y="29"/>
                  </a:lnTo>
                  <a:lnTo>
                    <a:pt x="211" y="8"/>
                  </a:lnTo>
                  <a:lnTo>
                    <a:pt x="210" y="0"/>
                  </a:lnTo>
                  <a:lnTo>
                    <a:pt x="0" y="5"/>
                  </a:lnTo>
                  <a:lnTo>
                    <a:pt x="10" y="67"/>
                  </a:lnTo>
                  <a:lnTo>
                    <a:pt x="9" y="17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5">
              <a:extLst>
                <a:ext uri="{FF2B5EF4-FFF2-40B4-BE49-F238E27FC236}">
                  <a16:creationId xmlns:a16="http://schemas.microsoft.com/office/drawing/2014/main" id="{A31522B5-1307-ECB8-0CA2-1A0044472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50770" y="7759235"/>
              <a:ext cx="1619052" cy="527417"/>
            </a:xfrm>
            <a:custGeom>
              <a:avLst/>
              <a:gdLst>
                <a:gd name="T0" fmla="*/ 1336 w 2262"/>
                <a:gd name="T1" fmla="*/ 97 h 741"/>
                <a:gd name="T2" fmla="*/ 576 w 2262"/>
                <a:gd name="T3" fmla="*/ 142 h 741"/>
                <a:gd name="T4" fmla="*/ 586 w 2262"/>
                <a:gd name="T5" fmla="*/ 213 h 741"/>
                <a:gd name="T6" fmla="*/ 181 w 2262"/>
                <a:gd name="T7" fmla="*/ 220 h 741"/>
                <a:gd name="T8" fmla="*/ 170 w 2262"/>
                <a:gd name="T9" fmla="*/ 227 h 741"/>
                <a:gd name="T10" fmla="*/ 165 w 2262"/>
                <a:gd name="T11" fmla="*/ 247 h 741"/>
                <a:gd name="T12" fmla="*/ 170 w 2262"/>
                <a:gd name="T13" fmla="*/ 267 h 741"/>
                <a:gd name="T14" fmla="*/ 162 w 2262"/>
                <a:gd name="T15" fmla="*/ 289 h 741"/>
                <a:gd name="T16" fmla="*/ 149 w 2262"/>
                <a:gd name="T17" fmla="*/ 297 h 741"/>
                <a:gd name="T18" fmla="*/ 139 w 2262"/>
                <a:gd name="T19" fmla="*/ 313 h 741"/>
                <a:gd name="T20" fmla="*/ 149 w 2262"/>
                <a:gd name="T21" fmla="*/ 319 h 741"/>
                <a:gd name="T22" fmla="*/ 162 w 2262"/>
                <a:gd name="T23" fmla="*/ 346 h 741"/>
                <a:gd name="T24" fmla="*/ 153 w 2262"/>
                <a:gd name="T25" fmla="*/ 362 h 741"/>
                <a:gd name="T26" fmla="*/ 139 w 2262"/>
                <a:gd name="T27" fmla="*/ 378 h 741"/>
                <a:gd name="T28" fmla="*/ 135 w 2262"/>
                <a:gd name="T29" fmla="*/ 399 h 741"/>
                <a:gd name="T30" fmla="*/ 139 w 2262"/>
                <a:gd name="T31" fmla="*/ 399 h 741"/>
                <a:gd name="T32" fmla="*/ 139 w 2262"/>
                <a:gd name="T33" fmla="*/ 427 h 741"/>
                <a:gd name="T34" fmla="*/ 133 w 2262"/>
                <a:gd name="T35" fmla="*/ 443 h 741"/>
                <a:gd name="T36" fmla="*/ 128 w 2262"/>
                <a:gd name="T37" fmla="*/ 453 h 741"/>
                <a:gd name="T38" fmla="*/ 109 w 2262"/>
                <a:gd name="T39" fmla="*/ 475 h 741"/>
                <a:gd name="T40" fmla="*/ 93 w 2262"/>
                <a:gd name="T41" fmla="*/ 481 h 741"/>
                <a:gd name="T42" fmla="*/ 90 w 2262"/>
                <a:gd name="T43" fmla="*/ 517 h 741"/>
                <a:gd name="T44" fmla="*/ 85 w 2262"/>
                <a:gd name="T45" fmla="*/ 533 h 741"/>
                <a:gd name="T46" fmla="*/ 84 w 2262"/>
                <a:gd name="T47" fmla="*/ 544 h 741"/>
                <a:gd name="T48" fmla="*/ 55 w 2262"/>
                <a:gd name="T49" fmla="*/ 563 h 741"/>
                <a:gd name="T50" fmla="*/ 33 w 2262"/>
                <a:gd name="T51" fmla="*/ 598 h 741"/>
                <a:gd name="T52" fmla="*/ 31 w 2262"/>
                <a:gd name="T53" fmla="*/ 635 h 741"/>
                <a:gd name="T54" fmla="*/ 33 w 2262"/>
                <a:gd name="T55" fmla="*/ 685 h 741"/>
                <a:gd name="T56" fmla="*/ 11 w 2262"/>
                <a:gd name="T57" fmla="*/ 722 h 741"/>
                <a:gd name="T58" fmla="*/ 0 w 2262"/>
                <a:gd name="T59" fmla="*/ 738 h 741"/>
                <a:gd name="T60" fmla="*/ 0 w 2262"/>
                <a:gd name="T61" fmla="*/ 741 h 741"/>
                <a:gd name="T62" fmla="*/ 1611 w 2262"/>
                <a:gd name="T63" fmla="*/ 616 h 741"/>
                <a:gd name="T64" fmla="*/ 1611 w 2262"/>
                <a:gd name="T65" fmla="*/ 612 h 741"/>
                <a:gd name="T66" fmla="*/ 1611 w 2262"/>
                <a:gd name="T67" fmla="*/ 605 h 741"/>
                <a:gd name="T68" fmla="*/ 1613 w 2262"/>
                <a:gd name="T69" fmla="*/ 564 h 741"/>
                <a:gd name="T70" fmla="*/ 1615 w 2262"/>
                <a:gd name="T71" fmla="*/ 546 h 741"/>
                <a:gd name="T72" fmla="*/ 1644 w 2262"/>
                <a:gd name="T73" fmla="*/ 517 h 741"/>
                <a:gd name="T74" fmla="*/ 1667 w 2262"/>
                <a:gd name="T75" fmla="*/ 517 h 741"/>
                <a:gd name="T76" fmla="*/ 1689 w 2262"/>
                <a:gd name="T77" fmla="*/ 496 h 741"/>
                <a:gd name="T78" fmla="*/ 1685 w 2262"/>
                <a:gd name="T79" fmla="*/ 471 h 741"/>
                <a:gd name="T80" fmla="*/ 1706 w 2262"/>
                <a:gd name="T81" fmla="*/ 442 h 741"/>
                <a:gd name="T82" fmla="*/ 1940 w 2262"/>
                <a:gd name="T83" fmla="*/ 302 h 741"/>
                <a:gd name="T84" fmla="*/ 1975 w 2262"/>
                <a:gd name="T85" fmla="*/ 281 h 741"/>
                <a:gd name="T86" fmla="*/ 1989 w 2262"/>
                <a:gd name="T87" fmla="*/ 256 h 741"/>
                <a:gd name="T88" fmla="*/ 2016 w 2262"/>
                <a:gd name="T89" fmla="*/ 213 h 741"/>
                <a:gd name="T90" fmla="*/ 2035 w 2262"/>
                <a:gd name="T91" fmla="*/ 211 h 741"/>
                <a:gd name="T92" fmla="*/ 2055 w 2262"/>
                <a:gd name="T93" fmla="*/ 242 h 741"/>
                <a:gd name="T94" fmla="*/ 2086 w 2262"/>
                <a:gd name="T95" fmla="*/ 213 h 741"/>
                <a:gd name="T96" fmla="*/ 2123 w 2262"/>
                <a:gd name="T97" fmla="*/ 172 h 741"/>
                <a:gd name="T98" fmla="*/ 2200 w 2262"/>
                <a:gd name="T99" fmla="*/ 157 h 741"/>
                <a:gd name="T100" fmla="*/ 2204 w 2262"/>
                <a:gd name="T101" fmla="*/ 128 h 741"/>
                <a:gd name="T102" fmla="*/ 2227 w 2262"/>
                <a:gd name="T103" fmla="*/ 93 h 741"/>
                <a:gd name="T104" fmla="*/ 2252 w 2262"/>
                <a:gd name="T105" fmla="*/ 79 h 741"/>
                <a:gd name="T106" fmla="*/ 2262 w 2262"/>
                <a:gd name="T107" fmla="*/ 83 h 741"/>
                <a:gd name="T108" fmla="*/ 2262 w 2262"/>
                <a:gd name="T109" fmla="*/ 0 h 741"/>
                <a:gd name="T110" fmla="*/ 1336 w 2262"/>
                <a:gd name="T111" fmla="*/ 97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62" h="741">
                  <a:moveTo>
                    <a:pt x="1336" y="97"/>
                  </a:moveTo>
                  <a:cubicBezTo>
                    <a:pt x="576" y="142"/>
                    <a:pt x="576" y="142"/>
                    <a:pt x="576" y="142"/>
                  </a:cubicBezTo>
                  <a:cubicBezTo>
                    <a:pt x="586" y="213"/>
                    <a:pt x="586" y="213"/>
                    <a:pt x="586" y="213"/>
                  </a:cubicBezTo>
                  <a:cubicBezTo>
                    <a:pt x="181" y="220"/>
                    <a:pt x="181" y="220"/>
                    <a:pt x="181" y="220"/>
                  </a:cubicBezTo>
                  <a:cubicBezTo>
                    <a:pt x="170" y="227"/>
                    <a:pt x="170" y="227"/>
                    <a:pt x="170" y="227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70" y="267"/>
                    <a:pt x="170" y="267"/>
                    <a:pt x="170" y="267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49" y="297"/>
                    <a:pt x="149" y="297"/>
                    <a:pt x="149" y="297"/>
                  </a:cubicBezTo>
                  <a:cubicBezTo>
                    <a:pt x="139" y="313"/>
                    <a:pt x="139" y="313"/>
                    <a:pt x="139" y="313"/>
                  </a:cubicBezTo>
                  <a:cubicBezTo>
                    <a:pt x="149" y="319"/>
                    <a:pt x="149" y="319"/>
                    <a:pt x="149" y="319"/>
                  </a:cubicBezTo>
                  <a:cubicBezTo>
                    <a:pt x="149" y="319"/>
                    <a:pt x="159" y="340"/>
                    <a:pt x="162" y="346"/>
                  </a:cubicBezTo>
                  <a:cubicBezTo>
                    <a:pt x="165" y="353"/>
                    <a:pt x="153" y="362"/>
                    <a:pt x="153" y="362"/>
                  </a:cubicBezTo>
                  <a:cubicBezTo>
                    <a:pt x="139" y="378"/>
                    <a:pt x="139" y="378"/>
                    <a:pt x="139" y="378"/>
                  </a:cubicBezTo>
                  <a:cubicBezTo>
                    <a:pt x="135" y="399"/>
                    <a:pt x="135" y="399"/>
                    <a:pt x="135" y="399"/>
                  </a:cubicBezTo>
                  <a:cubicBezTo>
                    <a:pt x="139" y="399"/>
                    <a:pt x="139" y="399"/>
                    <a:pt x="139" y="399"/>
                  </a:cubicBezTo>
                  <a:cubicBezTo>
                    <a:pt x="139" y="427"/>
                    <a:pt x="139" y="427"/>
                    <a:pt x="139" y="427"/>
                  </a:cubicBezTo>
                  <a:cubicBezTo>
                    <a:pt x="133" y="443"/>
                    <a:pt x="133" y="443"/>
                    <a:pt x="133" y="443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09" y="475"/>
                    <a:pt x="109" y="475"/>
                    <a:pt x="109" y="475"/>
                  </a:cubicBezTo>
                  <a:cubicBezTo>
                    <a:pt x="93" y="481"/>
                    <a:pt x="93" y="481"/>
                    <a:pt x="93" y="481"/>
                  </a:cubicBezTo>
                  <a:cubicBezTo>
                    <a:pt x="90" y="517"/>
                    <a:pt x="90" y="517"/>
                    <a:pt x="90" y="517"/>
                  </a:cubicBezTo>
                  <a:cubicBezTo>
                    <a:pt x="85" y="533"/>
                    <a:pt x="85" y="533"/>
                    <a:pt x="85" y="533"/>
                  </a:cubicBezTo>
                  <a:cubicBezTo>
                    <a:pt x="84" y="544"/>
                    <a:pt x="84" y="544"/>
                    <a:pt x="84" y="544"/>
                  </a:cubicBezTo>
                  <a:cubicBezTo>
                    <a:pt x="55" y="563"/>
                    <a:pt x="55" y="563"/>
                    <a:pt x="55" y="563"/>
                  </a:cubicBezTo>
                  <a:cubicBezTo>
                    <a:pt x="33" y="598"/>
                    <a:pt x="33" y="598"/>
                    <a:pt x="33" y="598"/>
                  </a:cubicBezTo>
                  <a:cubicBezTo>
                    <a:pt x="31" y="635"/>
                    <a:pt x="31" y="635"/>
                    <a:pt x="31" y="635"/>
                  </a:cubicBezTo>
                  <a:cubicBezTo>
                    <a:pt x="33" y="685"/>
                    <a:pt x="33" y="685"/>
                    <a:pt x="33" y="685"/>
                  </a:cubicBezTo>
                  <a:cubicBezTo>
                    <a:pt x="11" y="722"/>
                    <a:pt x="11" y="722"/>
                    <a:pt x="11" y="722"/>
                  </a:cubicBezTo>
                  <a:cubicBezTo>
                    <a:pt x="0" y="738"/>
                    <a:pt x="0" y="738"/>
                    <a:pt x="0" y="738"/>
                  </a:cubicBezTo>
                  <a:cubicBezTo>
                    <a:pt x="0" y="741"/>
                    <a:pt x="0" y="741"/>
                    <a:pt x="0" y="741"/>
                  </a:cubicBezTo>
                  <a:cubicBezTo>
                    <a:pt x="1611" y="616"/>
                    <a:pt x="1611" y="616"/>
                    <a:pt x="1611" y="616"/>
                  </a:cubicBezTo>
                  <a:cubicBezTo>
                    <a:pt x="1611" y="612"/>
                    <a:pt x="1611" y="612"/>
                    <a:pt x="1611" y="612"/>
                  </a:cubicBezTo>
                  <a:cubicBezTo>
                    <a:pt x="1611" y="605"/>
                    <a:pt x="1611" y="605"/>
                    <a:pt x="1611" y="605"/>
                  </a:cubicBezTo>
                  <a:cubicBezTo>
                    <a:pt x="1613" y="564"/>
                    <a:pt x="1613" y="564"/>
                    <a:pt x="1613" y="564"/>
                  </a:cubicBezTo>
                  <a:cubicBezTo>
                    <a:pt x="1615" y="546"/>
                    <a:pt x="1615" y="546"/>
                    <a:pt x="1615" y="546"/>
                  </a:cubicBezTo>
                  <a:cubicBezTo>
                    <a:pt x="1644" y="517"/>
                    <a:pt x="1644" y="517"/>
                    <a:pt x="1644" y="517"/>
                  </a:cubicBezTo>
                  <a:cubicBezTo>
                    <a:pt x="1667" y="517"/>
                    <a:pt x="1667" y="517"/>
                    <a:pt x="1667" y="517"/>
                  </a:cubicBezTo>
                  <a:cubicBezTo>
                    <a:pt x="1689" y="496"/>
                    <a:pt x="1689" y="496"/>
                    <a:pt x="1689" y="496"/>
                  </a:cubicBezTo>
                  <a:cubicBezTo>
                    <a:pt x="1685" y="471"/>
                    <a:pt x="1685" y="471"/>
                    <a:pt x="1685" y="471"/>
                  </a:cubicBezTo>
                  <a:cubicBezTo>
                    <a:pt x="1706" y="442"/>
                    <a:pt x="1706" y="442"/>
                    <a:pt x="1706" y="442"/>
                  </a:cubicBezTo>
                  <a:cubicBezTo>
                    <a:pt x="1940" y="302"/>
                    <a:pt x="1940" y="302"/>
                    <a:pt x="1940" y="302"/>
                  </a:cubicBezTo>
                  <a:cubicBezTo>
                    <a:pt x="1975" y="281"/>
                    <a:pt x="1975" y="281"/>
                    <a:pt x="1975" y="281"/>
                  </a:cubicBezTo>
                  <a:cubicBezTo>
                    <a:pt x="1989" y="256"/>
                    <a:pt x="1989" y="256"/>
                    <a:pt x="1989" y="256"/>
                  </a:cubicBezTo>
                  <a:cubicBezTo>
                    <a:pt x="2016" y="213"/>
                    <a:pt x="2016" y="213"/>
                    <a:pt x="2016" y="213"/>
                  </a:cubicBezTo>
                  <a:cubicBezTo>
                    <a:pt x="2035" y="211"/>
                    <a:pt x="2035" y="211"/>
                    <a:pt x="2035" y="211"/>
                  </a:cubicBezTo>
                  <a:cubicBezTo>
                    <a:pt x="2055" y="242"/>
                    <a:pt x="2055" y="242"/>
                    <a:pt x="2055" y="242"/>
                  </a:cubicBezTo>
                  <a:cubicBezTo>
                    <a:pt x="2086" y="213"/>
                    <a:pt x="2086" y="213"/>
                    <a:pt x="2086" y="213"/>
                  </a:cubicBezTo>
                  <a:cubicBezTo>
                    <a:pt x="2123" y="172"/>
                    <a:pt x="2123" y="172"/>
                    <a:pt x="2123" y="172"/>
                  </a:cubicBezTo>
                  <a:cubicBezTo>
                    <a:pt x="2200" y="157"/>
                    <a:pt x="2200" y="157"/>
                    <a:pt x="2200" y="157"/>
                  </a:cubicBezTo>
                  <a:cubicBezTo>
                    <a:pt x="2204" y="128"/>
                    <a:pt x="2204" y="128"/>
                    <a:pt x="2204" y="128"/>
                  </a:cubicBezTo>
                  <a:cubicBezTo>
                    <a:pt x="2227" y="93"/>
                    <a:pt x="2227" y="93"/>
                    <a:pt x="2227" y="93"/>
                  </a:cubicBezTo>
                  <a:cubicBezTo>
                    <a:pt x="2252" y="79"/>
                    <a:pt x="2252" y="79"/>
                    <a:pt x="2252" y="79"/>
                  </a:cubicBezTo>
                  <a:cubicBezTo>
                    <a:pt x="2262" y="83"/>
                    <a:pt x="2262" y="83"/>
                    <a:pt x="2262" y="83"/>
                  </a:cubicBezTo>
                  <a:cubicBezTo>
                    <a:pt x="2262" y="0"/>
                    <a:pt x="2262" y="0"/>
                    <a:pt x="2262" y="0"/>
                  </a:cubicBezTo>
                  <a:lnTo>
                    <a:pt x="1336" y="97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36">
              <a:extLst>
                <a:ext uri="{FF2B5EF4-FFF2-40B4-BE49-F238E27FC236}">
                  <a16:creationId xmlns:a16="http://schemas.microsoft.com/office/drawing/2014/main" id="{7E75F405-B2AB-222F-35BE-EEDB10210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3731" y="7583428"/>
              <a:ext cx="1614965" cy="715489"/>
            </a:xfrm>
            <a:custGeom>
              <a:avLst/>
              <a:gdLst>
                <a:gd name="T0" fmla="*/ 2212 w 2257"/>
                <a:gd name="T1" fmla="*/ 194 h 998"/>
                <a:gd name="T2" fmla="*/ 2183 w 2257"/>
                <a:gd name="T3" fmla="*/ 262 h 998"/>
                <a:gd name="T4" fmla="*/ 2150 w 2257"/>
                <a:gd name="T5" fmla="*/ 222 h 998"/>
                <a:gd name="T6" fmla="*/ 2074 w 2257"/>
                <a:gd name="T7" fmla="*/ 210 h 998"/>
                <a:gd name="T8" fmla="*/ 1997 w 2257"/>
                <a:gd name="T9" fmla="*/ 241 h 998"/>
                <a:gd name="T10" fmla="*/ 1970 w 2257"/>
                <a:gd name="T11" fmla="*/ 223 h 998"/>
                <a:gd name="T12" fmla="*/ 1953 w 2257"/>
                <a:gd name="T13" fmla="*/ 175 h 998"/>
                <a:gd name="T14" fmla="*/ 1946 w 2257"/>
                <a:gd name="T15" fmla="*/ 124 h 998"/>
                <a:gd name="T16" fmla="*/ 1968 w 2257"/>
                <a:gd name="T17" fmla="*/ 141 h 998"/>
                <a:gd name="T18" fmla="*/ 2005 w 2257"/>
                <a:gd name="T19" fmla="*/ 201 h 998"/>
                <a:gd name="T20" fmla="*/ 2043 w 2257"/>
                <a:gd name="T21" fmla="*/ 177 h 998"/>
                <a:gd name="T22" fmla="*/ 2108 w 2257"/>
                <a:gd name="T23" fmla="*/ 149 h 998"/>
                <a:gd name="T24" fmla="*/ 2116 w 2257"/>
                <a:gd name="T25" fmla="*/ 112 h 998"/>
                <a:gd name="T26" fmla="*/ 2094 w 2257"/>
                <a:gd name="T27" fmla="*/ 86 h 998"/>
                <a:gd name="T28" fmla="*/ 2158 w 2257"/>
                <a:gd name="T29" fmla="*/ 94 h 998"/>
                <a:gd name="T30" fmla="*/ 2130 w 2257"/>
                <a:gd name="T31" fmla="*/ 28 h 998"/>
                <a:gd name="T32" fmla="*/ 1074 w 2257"/>
                <a:gd name="T33" fmla="*/ 191 h 998"/>
                <a:gd name="T34" fmla="*/ 641 w 2257"/>
                <a:gd name="T35" fmla="*/ 323 h 998"/>
                <a:gd name="T36" fmla="*/ 589 w 2257"/>
                <a:gd name="T37" fmla="*/ 401 h 998"/>
                <a:gd name="T38" fmla="*/ 444 w 2257"/>
                <a:gd name="T39" fmla="*/ 486 h 998"/>
                <a:gd name="T40" fmla="*/ 378 w 2257"/>
                <a:gd name="T41" fmla="*/ 500 h 998"/>
                <a:gd name="T42" fmla="*/ 95 w 2257"/>
                <a:gd name="T43" fmla="*/ 686 h 998"/>
                <a:gd name="T44" fmla="*/ 56 w 2257"/>
                <a:gd name="T45" fmla="*/ 761 h 998"/>
                <a:gd name="T46" fmla="*/ 2 w 2257"/>
                <a:gd name="T47" fmla="*/ 808 h 998"/>
                <a:gd name="T48" fmla="*/ 0 w 2257"/>
                <a:gd name="T49" fmla="*/ 860 h 998"/>
                <a:gd name="T50" fmla="*/ 571 w 2257"/>
                <a:gd name="T51" fmla="*/ 721 h 998"/>
                <a:gd name="T52" fmla="*/ 745 w 2257"/>
                <a:gd name="T53" fmla="*/ 729 h 998"/>
                <a:gd name="T54" fmla="*/ 851 w 2257"/>
                <a:gd name="T55" fmla="*/ 692 h 998"/>
                <a:gd name="T56" fmla="*/ 983 w 2257"/>
                <a:gd name="T57" fmla="*/ 787 h 998"/>
                <a:gd name="T58" fmla="*/ 1681 w 2257"/>
                <a:gd name="T59" fmla="*/ 971 h 998"/>
                <a:gd name="T60" fmla="*/ 1771 w 2257"/>
                <a:gd name="T61" fmla="*/ 942 h 998"/>
                <a:gd name="T62" fmla="*/ 1818 w 2257"/>
                <a:gd name="T63" fmla="*/ 813 h 998"/>
                <a:gd name="T64" fmla="*/ 1875 w 2257"/>
                <a:gd name="T65" fmla="*/ 732 h 998"/>
                <a:gd name="T66" fmla="*/ 1870 w 2257"/>
                <a:gd name="T67" fmla="*/ 692 h 998"/>
                <a:gd name="T68" fmla="*/ 1882 w 2257"/>
                <a:gd name="T69" fmla="*/ 672 h 998"/>
                <a:gd name="T70" fmla="*/ 1925 w 2257"/>
                <a:gd name="T71" fmla="*/ 696 h 998"/>
                <a:gd name="T72" fmla="*/ 1946 w 2257"/>
                <a:gd name="T73" fmla="*/ 657 h 998"/>
                <a:gd name="T74" fmla="*/ 1970 w 2257"/>
                <a:gd name="T75" fmla="*/ 655 h 998"/>
                <a:gd name="T76" fmla="*/ 2046 w 2257"/>
                <a:gd name="T77" fmla="*/ 628 h 998"/>
                <a:gd name="T78" fmla="*/ 2083 w 2257"/>
                <a:gd name="T79" fmla="*/ 602 h 998"/>
                <a:gd name="T80" fmla="*/ 2133 w 2257"/>
                <a:gd name="T81" fmla="*/ 560 h 998"/>
                <a:gd name="T82" fmla="*/ 2134 w 2257"/>
                <a:gd name="T83" fmla="*/ 517 h 998"/>
                <a:gd name="T84" fmla="*/ 2082 w 2257"/>
                <a:gd name="T85" fmla="*/ 543 h 998"/>
                <a:gd name="T86" fmla="*/ 2017 w 2257"/>
                <a:gd name="T87" fmla="*/ 576 h 998"/>
                <a:gd name="T88" fmla="*/ 1957 w 2257"/>
                <a:gd name="T89" fmla="*/ 532 h 998"/>
                <a:gd name="T90" fmla="*/ 1994 w 2257"/>
                <a:gd name="T91" fmla="*/ 531 h 998"/>
                <a:gd name="T92" fmla="*/ 2052 w 2257"/>
                <a:gd name="T93" fmla="*/ 507 h 998"/>
                <a:gd name="T94" fmla="*/ 2054 w 2257"/>
                <a:gd name="T95" fmla="*/ 471 h 998"/>
                <a:gd name="T96" fmla="*/ 2046 w 2257"/>
                <a:gd name="T97" fmla="*/ 440 h 998"/>
                <a:gd name="T98" fmla="*/ 1939 w 2257"/>
                <a:gd name="T99" fmla="*/ 402 h 998"/>
                <a:gd name="T100" fmla="*/ 2004 w 2257"/>
                <a:gd name="T101" fmla="*/ 391 h 998"/>
                <a:gd name="T102" fmla="*/ 2035 w 2257"/>
                <a:gd name="T103" fmla="*/ 383 h 998"/>
                <a:gd name="T104" fmla="*/ 2037 w 2257"/>
                <a:gd name="T105" fmla="*/ 356 h 998"/>
                <a:gd name="T106" fmla="*/ 2077 w 2257"/>
                <a:gd name="T107" fmla="*/ 400 h 998"/>
                <a:gd name="T108" fmla="*/ 2118 w 2257"/>
                <a:gd name="T109" fmla="*/ 398 h 998"/>
                <a:gd name="T110" fmla="*/ 2191 w 2257"/>
                <a:gd name="T111" fmla="*/ 393 h 998"/>
                <a:gd name="T112" fmla="*/ 2206 w 2257"/>
                <a:gd name="T113" fmla="*/ 329 h 998"/>
                <a:gd name="T114" fmla="*/ 2228 w 2257"/>
                <a:gd name="T115" fmla="*/ 291 h 998"/>
                <a:gd name="T116" fmla="*/ 2251 w 2257"/>
                <a:gd name="T117" fmla="*/ 267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57" h="998">
                  <a:moveTo>
                    <a:pt x="2245" y="232"/>
                  </a:moveTo>
                  <a:cubicBezTo>
                    <a:pt x="2232" y="215"/>
                    <a:pt x="2232" y="215"/>
                    <a:pt x="2232" y="215"/>
                  </a:cubicBezTo>
                  <a:cubicBezTo>
                    <a:pt x="2212" y="194"/>
                    <a:pt x="2212" y="194"/>
                    <a:pt x="2212" y="194"/>
                  </a:cubicBezTo>
                  <a:cubicBezTo>
                    <a:pt x="2196" y="194"/>
                    <a:pt x="2196" y="194"/>
                    <a:pt x="2196" y="194"/>
                  </a:cubicBezTo>
                  <a:cubicBezTo>
                    <a:pt x="2184" y="203"/>
                    <a:pt x="2184" y="203"/>
                    <a:pt x="2184" y="203"/>
                  </a:cubicBezTo>
                  <a:cubicBezTo>
                    <a:pt x="2183" y="262"/>
                    <a:pt x="2183" y="262"/>
                    <a:pt x="2183" y="262"/>
                  </a:cubicBezTo>
                  <a:cubicBezTo>
                    <a:pt x="2178" y="274"/>
                    <a:pt x="2178" y="274"/>
                    <a:pt x="2178" y="274"/>
                  </a:cubicBezTo>
                  <a:cubicBezTo>
                    <a:pt x="2162" y="261"/>
                    <a:pt x="2162" y="261"/>
                    <a:pt x="2162" y="261"/>
                  </a:cubicBezTo>
                  <a:cubicBezTo>
                    <a:pt x="2150" y="222"/>
                    <a:pt x="2150" y="222"/>
                    <a:pt x="2150" y="222"/>
                  </a:cubicBezTo>
                  <a:cubicBezTo>
                    <a:pt x="2141" y="194"/>
                    <a:pt x="2141" y="194"/>
                    <a:pt x="2141" y="194"/>
                  </a:cubicBezTo>
                  <a:cubicBezTo>
                    <a:pt x="2115" y="189"/>
                    <a:pt x="2115" y="189"/>
                    <a:pt x="2115" y="189"/>
                  </a:cubicBezTo>
                  <a:cubicBezTo>
                    <a:pt x="2074" y="210"/>
                    <a:pt x="2074" y="210"/>
                    <a:pt x="2074" y="210"/>
                  </a:cubicBezTo>
                  <a:cubicBezTo>
                    <a:pt x="2063" y="210"/>
                    <a:pt x="2063" y="210"/>
                    <a:pt x="2063" y="210"/>
                  </a:cubicBezTo>
                  <a:cubicBezTo>
                    <a:pt x="2023" y="219"/>
                    <a:pt x="2023" y="219"/>
                    <a:pt x="2023" y="219"/>
                  </a:cubicBezTo>
                  <a:cubicBezTo>
                    <a:pt x="1997" y="241"/>
                    <a:pt x="1997" y="241"/>
                    <a:pt x="1997" y="241"/>
                  </a:cubicBezTo>
                  <a:cubicBezTo>
                    <a:pt x="1976" y="267"/>
                    <a:pt x="1976" y="267"/>
                    <a:pt x="1976" y="267"/>
                  </a:cubicBezTo>
                  <a:cubicBezTo>
                    <a:pt x="1970" y="254"/>
                    <a:pt x="1970" y="254"/>
                    <a:pt x="1970" y="254"/>
                  </a:cubicBezTo>
                  <a:cubicBezTo>
                    <a:pt x="1970" y="223"/>
                    <a:pt x="1970" y="223"/>
                    <a:pt x="1970" y="223"/>
                  </a:cubicBezTo>
                  <a:cubicBezTo>
                    <a:pt x="1975" y="208"/>
                    <a:pt x="1975" y="208"/>
                    <a:pt x="1975" y="208"/>
                  </a:cubicBezTo>
                  <a:cubicBezTo>
                    <a:pt x="1959" y="189"/>
                    <a:pt x="1959" y="189"/>
                    <a:pt x="1959" y="189"/>
                  </a:cubicBezTo>
                  <a:cubicBezTo>
                    <a:pt x="1953" y="175"/>
                    <a:pt x="1953" y="175"/>
                    <a:pt x="1953" y="175"/>
                  </a:cubicBezTo>
                  <a:cubicBezTo>
                    <a:pt x="1947" y="156"/>
                    <a:pt x="1947" y="156"/>
                    <a:pt x="1947" y="156"/>
                  </a:cubicBezTo>
                  <a:cubicBezTo>
                    <a:pt x="1946" y="138"/>
                    <a:pt x="1946" y="138"/>
                    <a:pt x="1946" y="138"/>
                  </a:cubicBezTo>
                  <a:cubicBezTo>
                    <a:pt x="1946" y="124"/>
                    <a:pt x="1946" y="124"/>
                    <a:pt x="1946" y="124"/>
                  </a:cubicBezTo>
                  <a:cubicBezTo>
                    <a:pt x="1955" y="112"/>
                    <a:pt x="1955" y="112"/>
                    <a:pt x="1955" y="112"/>
                  </a:cubicBezTo>
                  <a:cubicBezTo>
                    <a:pt x="1961" y="112"/>
                    <a:pt x="1961" y="112"/>
                    <a:pt x="1961" y="112"/>
                  </a:cubicBezTo>
                  <a:cubicBezTo>
                    <a:pt x="1968" y="141"/>
                    <a:pt x="1968" y="141"/>
                    <a:pt x="1968" y="141"/>
                  </a:cubicBezTo>
                  <a:cubicBezTo>
                    <a:pt x="1975" y="178"/>
                    <a:pt x="1975" y="178"/>
                    <a:pt x="1975" y="178"/>
                  </a:cubicBezTo>
                  <a:cubicBezTo>
                    <a:pt x="1988" y="212"/>
                    <a:pt x="1988" y="212"/>
                    <a:pt x="1988" y="212"/>
                  </a:cubicBezTo>
                  <a:cubicBezTo>
                    <a:pt x="2005" y="201"/>
                    <a:pt x="2005" y="201"/>
                    <a:pt x="2005" y="201"/>
                  </a:cubicBezTo>
                  <a:cubicBezTo>
                    <a:pt x="2017" y="194"/>
                    <a:pt x="2017" y="194"/>
                    <a:pt x="2017" y="194"/>
                  </a:cubicBezTo>
                  <a:cubicBezTo>
                    <a:pt x="2035" y="182"/>
                    <a:pt x="2035" y="182"/>
                    <a:pt x="2035" y="182"/>
                  </a:cubicBezTo>
                  <a:cubicBezTo>
                    <a:pt x="2043" y="177"/>
                    <a:pt x="2043" y="177"/>
                    <a:pt x="2043" y="177"/>
                  </a:cubicBezTo>
                  <a:cubicBezTo>
                    <a:pt x="2071" y="163"/>
                    <a:pt x="2071" y="163"/>
                    <a:pt x="2071" y="163"/>
                  </a:cubicBezTo>
                  <a:cubicBezTo>
                    <a:pt x="2077" y="149"/>
                    <a:pt x="2077" y="149"/>
                    <a:pt x="2077" y="149"/>
                  </a:cubicBezTo>
                  <a:cubicBezTo>
                    <a:pt x="2108" y="149"/>
                    <a:pt x="2108" y="149"/>
                    <a:pt x="2108" y="149"/>
                  </a:cubicBezTo>
                  <a:cubicBezTo>
                    <a:pt x="2116" y="132"/>
                    <a:pt x="2116" y="132"/>
                    <a:pt x="2116" y="132"/>
                  </a:cubicBezTo>
                  <a:cubicBezTo>
                    <a:pt x="2126" y="123"/>
                    <a:pt x="2126" y="123"/>
                    <a:pt x="2126" y="123"/>
                  </a:cubicBezTo>
                  <a:cubicBezTo>
                    <a:pt x="2126" y="123"/>
                    <a:pt x="2119" y="115"/>
                    <a:pt x="2116" y="112"/>
                  </a:cubicBezTo>
                  <a:cubicBezTo>
                    <a:pt x="2114" y="109"/>
                    <a:pt x="2114" y="109"/>
                    <a:pt x="2114" y="109"/>
                  </a:cubicBezTo>
                  <a:cubicBezTo>
                    <a:pt x="2094" y="93"/>
                    <a:pt x="2094" y="93"/>
                    <a:pt x="2094" y="93"/>
                  </a:cubicBezTo>
                  <a:cubicBezTo>
                    <a:pt x="2094" y="86"/>
                    <a:pt x="2094" y="86"/>
                    <a:pt x="2094" y="86"/>
                  </a:cubicBezTo>
                  <a:cubicBezTo>
                    <a:pt x="2103" y="86"/>
                    <a:pt x="2103" y="86"/>
                    <a:pt x="2103" y="86"/>
                  </a:cubicBezTo>
                  <a:cubicBezTo>
                    <a:pt x="2139" y="98"/>
                    <a:pt x="2139" y="98"/>
                    <a:pt x="2139" y="98"/>
                  </a:cubicBezTo>
                  <a:cubicBezTo>
                    <a:pt x="2158" y="94"/>
                    <a:pt x="2158" y="94"/>
                    <a:pt x="2158" y="94"/>
                  </a:cubicBezTo>
                  <a:cubicBezTo>
                    <a:pt x="2161" y="79"/>
                    <a:pt x="2161" y="79"/>
                    <a:pt x="2161" y="79"/>
                  </a:cubicBezTo>
                  <a:cubicBezTo>
                    <a:pt x="2140" y="47"/>
                    <a:pt x="2140" y="47"/>
                    <a:pt x="2140" y="47"/>
                  </a:cubicBezTo>
                  <a:cubicBezTo>
                    <a:pt x="2130" y="28"/>
                    <a:pt x="2130" y="28"/>
                    <a:pt x="2130" y="28"/>
                  </a:cubicBezTo>
                  <a:cubicBezTo>
                    <a:pt x="2114" y="0"/>
                    <a:pt x="2114" y="0"/>
                    <a:pt x="2114" y="0"/>
                  </a:cubicBezTo>
                  <a:cubicBezTo>
                    <a:pt x="1509" y="122"/>
                    <a:pt x="1509" y="122"/>
                    <a:pt x="1509" y="122"/>
                  </a:cubicBezTo>
                  <a:cubicBezTo>
                    <a:pt x="1074" y="191"/>
                    <a:pt x="1074" y="191"/>
                    <a:pt x="1074" y="191"/>
                  </a:cubicBezTo>
                  <a:cubicBezTo>
                    <a:pt x="651" y="244"/>
                    <a:pt x="651" y="244"/>
                    <a:pt x="651" y="244"/>
                  </a:cubicBezTo>
                  <a:cubicBezTo>
                    <a:pt x="651" y="327"/>
                    <a:pt x="651" y="327"/>
                    <a:pt x="651" y="327"/>
                  </a:cubicBezTo>
                  <a:cubicBezTo>
                    <a:pt x="641" y="323"/>
                    <a:pt x="641" y="323"/>
                    <a:pt x="641" y="323"/>
                  </a:cubicBezTo>
                  <a:cubicBezTo>
                    <a:pt x="616" y="337"/>
                    <a:pt x="616" y="337"/>
                    <a:pt x="616" y="337"/>
                  </a:cubicBezTo>
                  <a:cubicBezTo>
                    <a:pt x="593" y="372"/>
                    <a:pt x="593" y="372"/>
                    <a:pt x="593" y="372"/>
                  </a:cubicBezTo>
                  <a:cubicBezTo>
                    <a:pt x="589" y="401"/>
                    <a:pt x="589" y="401"/>
                    <a:pt x="589" y="401"/>
                  </a:cubicBezTo>
                  <a:cubicBezTo>
                    <a:pt x="512" y="416"/>
                    <a:pt x="512" y="416"/>
                    <a:pt x="512" y="416"/>
                  </a:cubicBezTo>
                  <a:cubicBezTo>
                    <a:pt x="475" y="457"/>
                    <a:pt x="475" y="457"/>
                    <a:pt x="475" y="457"/>
                  </a:cubicBezTo>
                  <a:cubicBezTo>
                    <a:pt x="444" y="486"/>
                    <a:pt x="444" y="486"/>
                    <a:pt x="444" y="486"/>
                  </a:cubicBezTo>
                  <a:cubicBezTo>
                    <a:pt x="424" y="455"/>
                    <a:pt x="424" y="455"/>
                    <a:pt x="424" y="455"/>
                  </a:cubicBezTo>
                  <a:cubicBezTo>
                    <a:pt x="405" y="457"/>
                    <a:pt x="405" y="457"/>
                    <a:pt x="405" y="457"/>
                  </a:cubicBezTo>
                  <a:cubicBezTo>
                    <a:pt x="378" y="500"/>
                    <a:pt x="378" y="500"/>
                    <a:pt x="378" y="500"/>
                  </a:cubicBezTo>
                  <a:cubicBezTo>
                    <a:pt x="364" y="525"/>
                    <a:pt x="364" y="525"/>
                    <a:pt x="364" y="525"/>
                  </a:cubicBezTo>
                  <a:cubicBezTo>
                    <a:pt x="329" y="546"/>
                    <a:pt x="329" y="546"/>
                    <a:pt x="329" y="546"/>
                  </a:cubicBezTo>
                  <a:cubicBezTo>
                    <a:pt x="95" y="686"/>
                    <a:pt x="95" y="686"/>
                    <a:pt x="95" y="686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8" y="740"/>
                    <a:pt x="78" y="740"/>
                    <a:pt x="78" y="740"/>
                  </a:cubicBezTo>
                  <a:cubicBezTo>
                    <a:pt x="56" y="761"/>
                    <a:pt x="56" y="761"/>
                    <a:pt x="56" y="761"/>
                  </a:cubicBezTo>
                  <a:cubicBezTo>
                    <a:pt x="33" y="761"/>
                    <a:pt x="33" y="761"/>
                    <a:pt x="33" y="761"/>
                  </a:cubicBezTo>
                  <a:cubicBezTo>
                    <a:pt x="4" y="790"/>
                    <a:pt x="4" y="790"/>
                    <a:pt x="4" y="790"/>
                  </a:cubicBezTo>
                  <a:cubicBezTo>
                    <a:pt x="2" y="808"/>
                    <a:pt x="2" y="808"/>
                    <a:pt x="2" y="808"/>
                  </a:cubicBezTo>
                  <a:cubicBezTo>
                    <a:pt x="0" y="849"/>
                    <a:pt x="0" y="849"/>
                    <a:pt x="0" y="849"/>
                  </a:cubicBezTo>
                  <a:cubicBezTo>
                    <a:pt x="0" y="856"/>
                    <a:pt x="0" y="856"/>
                    <a:pt x="0" y="856"/>
                  </a:cubicBezTo>
                  <a:cubicBezTo>
                    <a:pt x="0" y="860"/>
                    <a:pt x="0" y="860"/>
                    <a:pt x="0" y="860"/>
                  </a:cubicBezTo>
                  <a:cubicBezTo>
                    <a:pt x="385" y="818"/>
                    <a:pt x="385" y="818"/>
                    <a:pt x="385" y="818"/>
                  </a:cubicBezTo>
                  <a:cubicBezTo>
                    <a:pt x="501" y="731"/>
                    <a:pt x="501" y="731"/>
                    <a:pt x="501" y="731"/>
                  </a:cubicBezTo>
                  <a:cubicBezTo>
                    <a:pt x="571" y="721"/>
                    <a:pt x="571" y="721"/>
                    <a:pt x="571" y="721"/>
                  </a:cubicBezTo>
                  <a:cubicBezTo>
                    <a:pt x="623" y="721"/>
                    <a:pt x="623" y="721"/>
                    <a:pt x="623" y="721"/>
                  </a:cubicBezTo>
                  <a:cubicBezTo>
                    <a:pt x="702" y="733"/>
                    <a:pt x="702" y="733"/>
                    <a:pt x="702" y="733"/>
                  </a:cubicBezTo>
                  <a:cubicBezTo>
                    <a:pt x="745" y="729"/>
                    <a:pt x="745" y="729"/>
                    <a:pt x="745" y="729"/>
                  </a:cubicBezTo>
                  <a:cubicBezTo>
                    <a:pt x="769" y="721"/>
                    <a:pt x="769" y="721"/>
                    <a:pt x="769" y="721"/>
                  </a:cubicBezTo>
                  <a:cubicBezTo>
                    <a:pt x="802" y="701"/>
                    <a:pt x="802" y="701"/>
                    <a:pt x="802" y="701"/>
                  </a:cubicBezTo>
                  <a:cubicBezTo>
                    <a:pt x="851" y="692"/>
                    <a:pt x="851" y="692"/>
                    <a:pt x="851" y="692"/>
                  </a:cubicBezTo>
                  <a:cubicBezTo>
                    <a:pt x="908" y="701"/>
                    <a:pt x="908" y="701"/>
                    <a:pt x="908" y="701"/>
                  </a:cubicBezTo>
                  <a:cubicBezTo>
                    <a:pt x="951" y="721"/>
                    <a:pt x="951" y="721"/>
                    <a:pt x="951" y="721"/>
                  </a:cubicBezTo>
                  <a:cubicBezTo>
                    <a:pt x="983" y="787"/>
                    <a:pt x="983" y="787"/>
                    <a:pt x="983" y="787"/>
                  </a:cubicBezTo>
                  <a:cubicBezTo>
                    <a:pt x="1256" y="734"/>
                    <a:pt x="1256" y="734"/>
                    <a:pt x="1256" y="734"/>
                  </a:cubicBezTo>
                  <a:cubicBezTo>
                    <a:pt x="1618" y="998"/>
                    <a:pt x="1618" y="998"/>
                    <a:pt x="1618" y="998"/>
                  </a:cubicBezTo>
                  <a:cubicBezTo>
                    <a:pt x="1681" y="971"/>
                    <a:pt x="1681" y="971"/>
                    <a:pt x="1681" y="971"/>
                  </a:cubicBezTo>
                  <a:cubicBezTo>
                    <a:pt x="1698" y="969"/>
                    <a:pt x="1698" y="969"/>
                    <a:pt x="1698" y="969"/>
                  </a:cubicBezTo>
                  <a:cubicBezTo>
                    <a:pt x="1756" y="960"/>
                    <a:pt x="1756" y="960"/>
                    <a:pt x="1756" y="960"/>
                  </a:cubicBezTo>
                  <a:cubicBezTo>
                    <a:pt x="1771" y="942"/>
                    <a:pt x="1771" y="942"/>
                    <a:pt x="1771" y="942"/>
                  </a:cubicBezTo>
                  <a:cubicBezTo>
                    <a:pt x="1793" y="925"/>
                    <a:pt x="1793" y="925"/>
                    <a:pt x="1793" y="925"/>
                  </a:cubicBezTo>
                  <a:cubicBezTo>
                    <a:pt x="1802" y="857"/>
                    <a:pt x="1802" y="857"/>
                    <a:pt x="1802" y="857"/>
                  </a:cubicBezTo>
                  <a:cubicBezTo>
                    <a:pt x="1818" y="813"/>
                    <a:pt x="1818" y="813"/>
                    <a:pt x="1818" y="813"/>
                  </a:cubicBezTo>
                  <a:cubicBezTo>
                    <a:pt x="1851" y="770"/>
                    <a:pt x="1851" y="770"/>
                    <a:pt x="1851" y="770"/>
                  </a:cubicBezTo>
                  <a:cubicBezTo>
                    <a:pt x="1875" y="747"/>
                    <a:pt x="1875" y="747"/>
                    <a:pt x="1875" y="747"/>
                  </a:cubicBezTo>
                  <a:cubicBezTo>
                    <a:pt x="1875" y="732"/>
                    <a:pt x="1875" y="732"/>
                    <a:pt x="1875" y="732"/>
                  </a:cubicBezTo>
                  <a:cubicBezTo>
                    <a:pt x="1869" y="712"/>
                    <a:pt x="1869" y="712"/>
                    <a:pt x="1869" y="712"/>
                  </a:cubicBezTo>
                  <a:cubicBezTo>
                    <a:pt x="1864" y="703"/>
                    <a:pt x="1864" y="703"/>
                    <a:pt x="1864" y="703"/>
                  </a:cubicBezTo>
                  <a:cubicBezTo>
                    <a:pt x="1870" y="692"/>
                    <a:pt x="1870" y="692"/>
                    <a:pt x="1870" y="692"/>
                  </a:cubicBezTo>
                  <a:cubicBezTo>
                    <a:pt x="1870" y="682"/>
                    <a:pt x="1870" y="682"/>
                    <a:pt x="1870" y="682"/>
                  </a:cubicBezTo>
                  <a:cubicBezTo>
                    <a:pt x="1875" y="672"/>
                    <a:pt x="1875" y="672"/>
                    <a:pt x="1875" y="672"/>
                  </a:cubicBezTo>
                  <a:cubicBezTo>
                    <a:pt x="1882" y="672"/>
                    <a:pt x="1882" y="672"/>
                    <a:pt x="1882" y="672"/>
                  </a:cubicBezTo>
                  <a:cubicBezTo>
                    <a:pt x="1889" y="678"/>
                    <a:pt x="1889" y="678"/>
                    <a:pt x="1889" y="678"/>
                  </a:cubicBezTo>
                  <a:cubicBezTo>
                    <a:pt x="1896" y="708"/>
                    <a:pt x="1896" y="708"/>
                    <a:pt x="1896" y="708"/>
                  </a:cubicBezTo>
                  <a:cubicBezTo>
                    <a:pt x="1925" y="696"/>
                    <a:pt x="1925" y="696"/>
                    <a:pt x="1925" y="696"/>
                  </a:cubicBezTo>
                  <a:cubicBezTo>
                    <a:pt x="1946" y="683"/>
                    <a:pt x="1946" y="683"/>
                    <a:pt x="1946" y="683"/>
                  </a:cubicBezTo>
                  <a:cubicBezTo>
                    <a:pt x="1946" y="672"/>
                    <a:pt x="1946" y="672"/>
                    <a:pt x="1946" y="672"/>
                  </a:cubicBezTo>
                  <a:cubicBezTo>
                    <a:pt x="1946" y="657"/>
                    <a:pt x="1946" y="657"/>
                    <a:pt x="1946" y="657"/>
                  </a:cubicBezTo>
                  <a:cubicBezTo>
                    <a:pt x="1955" y="648"/>
                    <a:pt x="1955" y="648"/>
                    <a:pt x="1955" y="648"/>
                  </a:cubicBezTo>
                  <a:cubicBezTo>
                    <a:pt x="1961" y="642"/>
                    <a:pt x="1961" y="642"/>
                    <a:pt x="1961" y="642"/>
                  </a:cubicBezTo>
                  <a:cubicBezTo>
                    <a:pt x="1970" y="655"/>
                    <a:pt x="1970" y="655"/>
                    <a:pt x="1970" y="655"/>
                  </a:cubicBezTo>
                  <a:cubicBezTo>
                    <a:pt x="2010" y="642"/>
                    <a:pt x="2010" y="642"/>
                    <a:pt x="2010" y="642"/>
                  </a:cubicBezTo>
                  <a:cubicBezTo>
                    <a:pt x="2035" y="628"/>
                    <a:pt x="2035" y="628"/>
                    <a:pt x="2035" y="628"/>
                  </a:cubicBezTo>
                  <a:cubicBezTo>
                    <a:pt x="2046" y="628"/>
                    <a:pt x="2046" y="628"/>
                    <a:pt x="2046" y="628"/>
                  </a:cubicBezTo>
                  <a:cubicBezTo>
                    <a:pt x="2067" y="619"/>
                    <a:pt x="2067" y="619"/>
                    <a:pt x="2067" y="619"/>
                  </a:cubicBezTo>
                  <a:cubicBezTo>
                    <a:pt x="2083" y="608"/>
                    <a:pt x="2083" y="608"/>
                    <a:pt x="2083" y="608"/>
                  </a:cubicBezTo>
                  <a:cubicBezTo>
                    <a:pt x="2083" y="602"/>
                    <a:pt x="2083" y="602"/>
                    <a:pt x="2083" y="602"/>
                  </a:cubicBezTo>
                  <a:cubicBezTo>
                    <a:pt x="2112" y="620"/>
                    <a:pt x="2112" y="620"/>
                    <a:pt x="2112" y="620"/>
                  </a:cubicBezTo>
                  <a:cubicBezTo>
                    <a:pt x="2123" y="593"/>
                    <a:pt x="2123" y="593"/>
                    <a:pt x="2123" y="593"/>
                  </a:cubicBezTo>
                  <a:cubicBezTo>
                    <a:pt x="2133" y="560"/>
                    <a:pt x="2133" y="560"/>
                    <a:pt x="2133" y="560"/>
                  </a:cubicBezTo>
                  <a:cubicBezTo>
                    <a:pt x="2141" y="544"/>
                    <a:pt x="2141" y="544"/>
                    <a:pt x="2141" y="544"/>
                  </a:cubicBezTo>
                  <a:cubicBezTo>
                    <a:pt x="2148" y="531"/>
                    <a:pt x="2148" y="531"/>
                    <a:pt x="2148" y="531"/>
                  </a:cubicBezTo>
                  <a:cubicBezTo>
                    <a:pt x="2148" y="531"/>
                    <a:pt x="2141" y="515"/>
                    <a:pt x="2134" y="517"/>
                  </a:cubicBezTo>
                  <a:cubicBezTo>
                    <a:pt x="2128" y="518"/>
                    <a:pt x="2105" y="528"/>
                    <a:pt x="2105" y="528"/>
                  </a:cubicBezTo>
                  <a:cubicBezTo>
                    <a:pt x="2099" y="537"/>
                    <a:pt x="2099" y="537"/>
                    <a:pt x="2099" y="537"/>
                  </a:cubicBezTo>
                  <a:cubicBezTo>
                    <a:pt x="2082" y="543"/>
                    <a:pt x="2082" y="543"/>
                    <a:pt x="2082" y="543"/>
                  </a:cubicBezTo>
                  <a:cubicBezTo>
                    <a:pt x="2067" y="553"/>
                    <a:pt x="2067" y="553"/>
                    <a:pt x="2067" y="553"/>
                  </a:cubicBezTo>
                  <a:cubicBezTo>
                    <a:pt x="2038" y="576"/>
                    <a:pt x="2038" y="576"/>
                    <a:pt x="2038" y="576"/>
                  </a:cubicBezTo>
                  <a:cubicBezTo>
                    <a:pt x="2017" y="576"/>
                    <a:pt x="2017" y="576"/>
                    <a:pt x="2017" y="576"/>
                  </a:cubicBezTo>
                  <a:cubicBezTo>
                    <a:pt x="1961" y="561"/>
                    <a:pt x="1961" y="561"/>
                    <a:pt x="1961" y="561"/>
                  </a:cubicBezTo>
                  <a:cubicBezTo>
                    <a:pt x="1955" y="548"/>
                    <a:pt x="1955" y="548"/>
                    <a:pt x="1955" y="548"/>
                  </a:cubicBezTo>
                  <a:cubicBezTo>
                    <a:pt x="1957" y="532"/>
                    <a:pt x="1957" y="532"/>
                    <a:pt x="1957" y="532"/>
                  </a:cubicBezTo>
                  <a:cubicBezTo>
                    <a:pt x="1964" y="526"/>
                    <a:pt x="1964" y="526"/>
                    <a:pt x="1964" y="526"/>
                  </a:cubicBezTo>
                  <a:cubicBezTo>
                    <a:pt x="1979" y="529"/>
                    <a:pt x="1979" y="529"/>
                    <a:pt x="1979" y="529"/>
                  </a:cubicBezTo>
                  <a:cubicBezTo>
                    <a:pt x="1994" y="531"/>
                    <a:pt x="1994" y="531"/>
                    <a:pt x="1994" y="531"/>
                  </a:cubicBezTo>
                  <a:cubicBezTo>
                    <a:pt x="2030" y="535"/>
                    <a:pt x="2030" y="535"/>
                    <a:pt x="2030" y="535"/>
                  </a:cubicBezTo>
                  <a:cubicBezTo>
                    <a:pt x="2046" y="522"/>
                    <a:pt x="2046" y="522"/>
                    <a:pt x="2046" y="522"/>
                  </a:cubicBezTo>
                  <a:cubicBezTo>
                    <a:pt x="2052" y="507"/>
                    <a:pt x="2052" y="507"/>
                    <a:pt x="2052" y="507"/>
                  </a:cubicBezTo>
                  <a:cubicBezTo>
                    <a:pt x="2045" y="493"/>
                    <a:pt x="2045" y="493"/>
                    <a:pt x="2045" y="493"/>
                  </a:cubicBezTo>
                  <a:cubicBezTo>
                    <a:pt x="2048" y="471"/>
                    <a:pt x="2048" y="471"/>
                    <a:pt x="2048" y="471"/>
                  </a:cubicBezTo>
                  <a:cubicBezTo>
                    <a:pt x="2054" y="471"/>
                    <a:pt x="2054" y="471"/>
                    <a:pt x="2054" y="471"/>
                  </a:cubicBezTo>
                  <a:cubicBezTo>
                    <a:pt x="2068" y="456"/>
                    <a:pt x="2068" y="456"/>
                    <a:pt x="2068" y="456"/>
                  </a:cubicBezTo>
                  <a:cubicBezTo>
                    <a:pt x="2067" y="440"/>
                    <a:pt x="2067" y="440"/>
                    <a:pt x="2067" y="440"/>
                  </a:cubicBezTo>
                  <a:cubicBezTo>
                    <a:pt x="2046" y="440"/>
                    <a:pt x="2046" y="440"/>
                    <a:pt x="2046" y="440"/>
                  </a:cubicBezTo>
                  <a:cubicBezTo>
                    <a:pt x="2004" y="425"/>
                    <a:pt x="2004" y="425"/>
                    <a:pt x="2004" y="425"/>
                  </a:cubicBezTo>
                  <a:cubicBezTo>
                    <a:pt x="1957" y="413"/>
                    <a:pt x="1957" y="413"/>
                    <a:pt x="1957" y="413"/>
                  </a:cubicBezTo>
                  <a:cubicBezTo>
                    <a:pt x="1939" y="402"/>
                    <a:pt x="1939" y="402"/>
                    <a:pt x="1939" y="402"/>
                  </a:cubicBezTo>
                  <a:cubicBezTo>
                    <a:pt x="1939" y="391"/>
                    <a:pt x="1939" y="391"/>
                    <a:pt x="1939" y="391"/>
                  </a:cubicBezTo>
                  <a:cubicBezTo>
                    <a:pt x="1968" y="391"/>
                    <a:pt x="1968" y="391"/>
                    <a:pt x="1968" y="391"/>
                  </a:cubicBezTo>
                  <a:cubicBezTo>
                    <a:pt x="2004" y="391"/>
                    <a:pt x="2004" y="391"/>
                    <a:pt x="2004" y="391"/>
                  </a:cubicBezTo>
                  <a:cubicBezTo>
                    <a:pt x="2037" y="407"/>
                    <a:pt x="2037" y="407"/>
                    <a:pt x="2037" y="407"/>
                  </a:cubicBezTo>
                  <a:cubicBezTo>
                    <a:pt x="2045" y="397"/>
                    <a:pt x="2045" y="397"/>
                    <a:pt x="2045" y="397"/>
                  </a:cubicBezTo>
                  <a:cubicBezTo>
                    <a:pt x="2035" y="383"/>
                    <a:pt x="2035" y="383"/>
                    <a:pt x="2035" y="383"/>
                  </a:cubicBezTo>
                  <a:cubicBezTo>
                    <a:pt x="2026" y="374"/>
                    <a:pt x="2026" y="374"/>
                    <a:pt x="2026" y="374"/>
                  </a:cubicBezTo>
                  <a:cubicBezTo>
                    <a:pt x="2020" y="361"/>
                    <a:pt x="2020" y="361"/>
                    <a:pt x="2020" y="361"/>
                  </a:cubicBezTo>
                  <a:cubicBezTo>
                    <a:pt x="2037" y="356"/>
                    <a:pt x="2037" y="356"/>
                    <a:pt x="2037" y="356"/>
                  </a:cubicBezTo>
                  <a:cubicBezTo>
                    <a:pt x="2059" y="356"/>
                    <a:pt x="2059" y="356"/>
                    <a:pt x="2059" y="356"/>
                  </a:cubicBezTo>
                  <a:cubicBezTo>
                    <a:pt x="2064" y="386"/>
                    <a:pt x="2064" y="386"/>
                    <a:pt x="2064" y="386"/>
                  </a:cubicBezTo>
                  <a:cubicBezTo>
                    <a:pt x="2077" y="400"/>
                    <a:pt x="2077" y="400"/>
                    <a:pt x="2077" y="400"/>
                  </a:cubicBezTo>
                  <a:cubicBezTo>
                    <a:pt x="2096" y="400"/>
                    <a:pt x="2096" y="400"/>
                    <a:pt x="2096" y="400"/>
                  </a:cubicBezTo>
                  <a:cubicBezTo>
                    <a:pt x="2101" y="391"/>
                    <a:pt x="2101" y="391"/>
                    <a:pt x="2101" y="391"/>
                  </a:cubicBezTo>
                  <a:cubicBezTo>
                    <a:pt x="2118" y="398"/>
                    <a:pt x="2118" y="398"/>
                    <a:pt x="2118" y="398"/>
                  </a:cubicBezTo>
                  <a:cubicBezTo>
                    <a:pt x="2148" y="402"/>
                    <a:pt x="2148" y="402"/>
                    <a:pt x="2148" y="402"/>
                  </a:cubicBezTo>
                  <a:cubicBezTo>
                    <a:pt x="2184" y="402"/>
                    <a:pt x="2184" y="402"/>
                    <a:pt x="2184" y="402"/>
                  </a:cubicBezTo>
                  <a:cubicBezTo>
                    <a:pt x="2191" y="393"/>
                    <a:pt x="2191" y="393"/>
                    <a:pt x="2191" y="393"/>
                  </a:cubicBezTo>
                  <a:cubicBezTo>
                    <a:pt x="2191" y="365"/>
                    <a:pt x="2191" y="365"/>
                    <a:pt x="2191" y="365"/>
                  </a:cubicBezTo>
                  <a:cubicBezTo>
                    <a:pt x="2199" y="356"/>
                    <a:pt x="2199" y="356"/>
                    <a:pt x="2199" y="356"/>
                  </a:cubicBezTo>
                  <a:cubicBezTo>
                    <a:pt x="2206" y="329"/>
                    <a:pt x="2206" y="329"/>
                    <a:pt x="2206" y="329"/>
                  </a:cubicBezTo>
                  <a:cubicBezTo>
                    <a:pt x="2206" y="316"/>
                    <a:pt x="2206" y="316"/>
                    <a:pt x="2206" y="316"/>
                  </a:cubicBezTo>
                  <a:cubicBezTo>
                    <a:pt x="2213" y="291"/>
                    <a:pt x="2213" y="291"/>
                    <a:pt x="2213" y="291"/>
                  </a:cubicBezTo>
                  <a:cubicBezTo>
                    <a:pt x="2228" y="291"/>
                    <a:pt x="2228" y="291"/>
                    <a:pt x="2228" y="291"/>
                  </a:cubicBezTo>
                  <a:cubicBezTo>
                    <a:pt x="2235" y="305"/>
                    <a:pt x="2235" y="305"/>
                    <a:pt x="2235" y="305"/>
                  </a:cubicBezTo>
                  <a:cubicBezTo>
                    <a:pt x="2251" y="291"/>
                    <a:pt x="2251" y="291"/>
                    <a:pt x="2251" y="291"/>
                  </a:cubicBezTo>
                  <a:cubicBezTo>
                    <a:pt x="2251" y="267"/>
                    <a:pt x="2251" y="267"/>
                    <a:pt x="2251" y="267"/>
                  </a:cubicBezTo>
                  <a:cubicBezTo>
                    <a:pt x="2257" y="255"/>
                    <a:pt x="2257" y="255"/>
                    <a:pt x="2257" y="255"/>
                  </a:cubicBezTo>
                  <a:lnTo>
                    <a:pt x="2245" y="232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7">
              <a:extLst>
                <a:ext uri="{FF2B5EF4-FFF2-40B4-BE49-F238E27FC236}">
                  <a16:creationId xmlns:a16="http://schemas.microsoft.com/office/drawing/2014/main" id="{C2E4FE4D-0606-2ED4-E29F-E475FA5BF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2510" y="8168087"/>
              <a:ext cx="993511" cy="1071191"/>
            </a:xfrm>
            <a:custGeom>
              <a:avLst/>
              <a:gdLst>
                <a:gd name="T0" fmla="*/ 1359 w 1392"/>
                <a:gd name="T1" fmla="*/ 877 h 1498"/>
                <a:gd name="T2" fmla="*/ 1350 w 1392"/>
                <a:gd name="T3" fmla="*/ 833 h 1498"/>
                <a:gd name="T4" fmla="*/ 1329 w 1392"/>
                <a:gd name="T5" fmla="*/ 794 h 1498"/>
                <a:gd name="T6" fmla="*/ 1316 w 1392"/>
                <a:gd name="T7" fmla="*/ 765 h 1498"/>
                <a:gd name="T8" fmla="*/ 1295 w 1392"/>
                <a:gd name="T9" fmla="*/ 744 h 1498"/>
                <a:gd name="T10" fmla="*/ 1271 w 1392"/>
                <a:gd name="T11" fmla="*/ 731 h 1498"/>
                <a:gd name="T12" fmla="*/ 1256 w 1392"/>
                <a:gd name="T13" fmla="*/ 701 h 1498"/>
                <a:gd name="T14" fmla="*/ 1243 w 1392"/>
                <a:gd name="T15" fmla="*/ 664 h 1498"/>
                <a:gd name="T16" fmla="*/ 1207 w 1392"/>
                <a:gd name="T17" fmla="*/ 615 h 1498"/>
                <a:gd name="T18" fmla="*/ 1168 w 1392"/>
                <a:gd name="T19" fmla="*/ 581 h 1498"/>
                <a:gd name="T20" fmla="*/ 1100 w 1392"/>
                <a:gd name="T21" fmla="*/ 537 h 1498"/>
                <a:gd name="T22" fmla="*/ 1019 w 1392"/>
                <a:gd name="T23" fmla="*/ 435 h 1498"/>
                <a:gd name="T24" fmla="*/ 873 w 1392"/>
                <a:gd name="T25" fmla="*/ 319 h 1498"/>
                <a:gd name="T26" fmla="*/ 804 w 1392"/>
                <a:gd name="T27" fmla="*/ 243 h 1498"/>
                <a:gd name="T28" fmla="*/ 773 w 1392"/>
                <a:gd name="T29" fmla="*/ 189 h 1498"/>
                <a:gd name="T30" fmla="*/ 668 w 1392"/>
                <a:gd name="T31" fmla="*/ 132 h 1498"/>
                <a:gd name="T32" fmla="*/ 640 w 1392"/>
                <a:gd name="T33" fmla="*/ 93 h 1498"/>
                <a:gd name="T34" fmla="*/ 674 w 1392"/>
                <a:gd name="T35" fmla="*/ 58 h 1498"/>
                <a:gd name="T36" fmla="*/ 713 w 1392"/>
                <a:gd name="T37" fmla="*/ 25 h 1498"/>
                <a:gd name="T38" fmla="*/ 721 w 1392"/>
                <a:gd name="T39" fmla="*/ 1 h 1498"/>
                <a:gd name="T40" fmla="*/ 338 w 1392"/>
                <a:gd name="T41" fmla="*/ 42 h 1498"/>
                <a:gd name="T42" fmla="*/ 0 w 1392"/>
                <a:gd name="T43" fmla="*/ 68 h 1498"/>
                <a:gd name="T44" fmla="*/ 82 w 1392"/>
                <a:gd name="T45" fmla="*/ 402 h 1498"/>
                <a:gd name="T46" fmla="*/ 178 w 1392"/>
                <a:gd name="T47" fmla="*/ 743 h 1498"/>
                <a:gd name="T48" fmla="*/ 264 w 1392"/>
                <a:gd name="T49" fmla="*/ 886 h 1498"/>
                <a:gd name="T50" fmla="*/ 274 w 1392"/>
                <a:gd name="T51" fmla="*/ 950 h 1498"/>
                <a:gd name="T52" fmla="*/ 280 w 1392"/>
                <a:gd name="T53" fmla="*/ 995 h 1498"/>
                <a:gd name="T54" fmla="*/ 270 w 1392"/>
                <a:gd name="T55" fmla="*/ 1038 h 1498"/>
                <a:gd name="T56" fmla="*/ 248 w 1392"/>
                <a:gd name="T57" fmla="*/ 1084 h 1498"/>
                <a:gd name="T58" fmla="*/ 260 w 1392"/>
                <a:gd name="T59" fmla="*/ 1194 h 1498"/>
                <a:gd name="T60" fmla="*/ 282 w 1392"/>
                <a:gd name="T61" fmla="*/ 1261 h 1498"/>
                <a:gd name="T62" fmla="*/ 260 w 1392"/>
                <a:gd name="T63" fmla="*/ 1286 h 1498"/>
                <a:gd name="T64" fmla="*/ 290 w 1392"/>
                <a:gd name="T65" fmla="*/ 1337 h 1498"/>
                <a:gd name="T66" fmla="*/ 319 w 1392"/>
                <a:gd name="T67" fmla="*/ 1389 h 1498"/>
                <a:gd name="T68" fmla="*/ 1109 w 1392"/>
                <a:gd name="T69" fmla="*/ 1433 h 1498"/>
                <a:gd name="T70" fmla="*/ 1171 w 1392"/>
                <a:gd name="T71" fmla="*/ 1498 h 1498"/>
                <a:gd name="T72" fmla="*/ 1150 w 1392"/>
                <a:gd name="T73" fmla="*/ 1337 h 1498"/>
                <a:gd name="T74" fmla="*/ 1268 w 1392"/>
                <a:gd name="T75" fmla="*/ 1357 h 1498"/>
                <a:gd name="T76" fmla="*/ 1284 w 1392"/>
                <a:gd name="T77" fmla="*/ 1307 h 1498"/>
                <a:gd name="T78" fmla="*/ 1264 w 1392"/>
                <a:gd name="T79" fmla="*/ 1292 h 1498"/>
                <a:gd name="T80" fmla="*/ 1249 w 1392"/>
                <a:gd name="T81" fmla="*/ 1269 h 1498"/>
                <a:gd name="T82" fmla="*/ 1285 w 1392"/>
                <a:gd name="T83" fmla="*/ 1269 h 1498"/>
                <a:gd name="T84" fmla="*/ 1268 w 1392"/>
                <a:gd name="T85" fmla="*/ 1227 h 1498"/>
                <a:gd name="T86" fmla="*/ 1304 w 1392"/>
                <a:gd name="T87" fmla="*/ 1208 h 1498"/>
                <a:gd name="T88" fmla="*/ 1300 w 1392"/>
                <a:gd name="T89" fmla="*/ 1162 h 1498"/>
                <a:gd name="T90" fmla="*/ 1305 w 1392"/>
                <a:gd name="T91" fmla="*/ 1146 h 1498"/>
                <a:gd name="T92" fmla="*/ 1313 w 1392"/>
                <a:gd name="T93" fmla="*/ 1113 h 1498"/>
                <a:gd name="T94" fmla="*/ 1310 w 1392"/>
                <a:gd name="T95" fmla="*/ 1045 h 1498"/>
                <a:gd name="T96" fmla="*/ 1346 w 1392"/>
                <a:gd name="T97" fmla="*/ 1051 h 1498"/>
                <a:gd name="T98" fmla="*/ 1342 w 1392"/>
                <a:gd name="T99" fmla="*/ 1032 h 1498"/>
                <a:gd name="T100" fmla="*/ 1310 w 1392"/>
                <a:gd name="T101" fmla="*/ 998 h 1498"/>
                <a:gd name="T102" fmla="*/ 1359 w 1392"/>
                <a:gd name="T103" fmla="*/ 998 h 1498"/>
                <a:gd name="T104" fmla="*/ 1341 w 1392"/>
                <a:gd name="T105" fmla="*/ 976 h 1498"/>
                <a:gd name="T106" fmla="*/ 1334 w 1392"/>
                <a:gd name="T107" fmla="*/ 951 h 1498"/>
                <a:gd name="T108" fmla="*/ 1369 w 1392"/>
                <a:gd name="T109" fmla="*/ 955 h 1498"/>
                <a:gd name="T110" fmla="*/ 1378 w 1392"/>
                <a:gd name="T111" fmla="*/ 928 h 1498"/>
                <a:gd name="T112" fmla="*/ 1392 w 1392"/>
                <a:gd name="T113" fmla="*/ 900 h 1498"/>
                <a:gd name="T114" fmla="*/ 1378 w 1392"/>
                <a:gd name="T115" fmla="*/ 887 h 1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2" h="1498">
                  <a:moveTo>
                    <a:pt x="1378" y="887"/>
                  </a:moveTo>
                  <a:cubicBezTo>
                    <a:pt x="1359" y="877"/>
                    <a:pt x="1359" y="877"/>
                    <a:pt x="1359" y="877"/>
                  </a:cubicBezTo>
                  <a:cubicBezTo>
                    <a:pt x="1350" y="861"/>
                    <a:pt x="1350" y="861"/>
                    <a:pt x="1350" y="861"/>
                  </a:cubicBezTo>
                  <a:cubicBezTo>
                    <a:pt x="1350" y="833"/>
                    <a:pt x="1350" y="833"/>
                    <a:pt x="1350" y="833"/>
                  </a:cubicBezTo>
                  <a:cubicBezTo>
                    <a:pt x="1350" y="822"/>
                    <a:pt x="1350" y="822"/>
                    <a:pt x="1350" y="822"/>
                  </a:cubicBezTo>
                  <a:cubicBezTo>
                    <a:pt x="1329" y="794"/>
                    <a:pt x="1329" y="794"/>
                    <a:pt x="1329" y="794"/>
                  </a:cubicBezTo>
                  <a:cubicBezTo>
                    <a:pt x="1316" y="778"/>
                    <a:pt x="1316" y="778"/>
                    <a:pt x="1316" y="778"/>
                  </a:cubicBezTo>
                  <a:cubicBezTo>
                    <a:pt x="1316" y="765"/>
                    <a:pt x="1316" y="765"/>
                    <a:pt x="1316" y="765"/>
                  </a:cubicBezTo>
                  <a:cubicBezTo>
                    <a:pt x="1316" y="757"/>
                    <a:pt x="1316" y="757"/>
                    <a:pt x="1316" y="757"/>
                  </a:cubicBezTo>
                  <a:cubicBezTo>
                    <a:pt x="1295" y="744"/>
                    <a:pt x="1295" y="744"/>
                    <a:pt x="1295" y="744"/>
                  </a:cubicBezTo>
                  <a:cubicBezTo>
                    <a:pt x="1281" y="731"/>
                    <a:pt x="1281" y="731"/>
                    <a:pt x="1281" y="731"/>
                  </a:cubicBezTo>
                  <a:cubicBezTo>
                    <a:pt x="1271" y="731"/>
                    <a:pt x="1271" y="731"/>
                    <a:pt x="1271" y="731"/>
                  </a:cubicBezTo>
                  <a:cubicBezTo>
                    <a:pt x="1263" y="722"/>
                    <a:pt x="1263" y="722"/>
                    <a:pt x="1263" y="722"/>
                  </a:cubicBezTo>
                  <a:cubicBezTo>
                    <a:pt x="1256" y="701"/>
                    <a:pt x="1256" y="701"/>
                    <a:pt x="1256" y="701"/>
                  </a:cubicBezTo>
                  <a:cubicBezTo>
                    <a:pt x="1256" y="683"/>
                    <a:pt x="1256" y="683"/>
                    <a:pt x="1256" y="683"/>
                  </a:cubicBezTo>
                  <a:cubicBezTo>
                    <a:pt x="1243" y="664"/>
                    <a:pt x="1243" y="664"/>
                    <a:pt x="1243" y="664"/>
                  </a:cubicBezTo>
                  <a:cubicBezTo>
                    <a:pt x="1219" y="631"/>
                    <a:pt x="1219" y="631"/>
                    <a:pt x="1219" y="631"/>
                  </a:cubicBezTo>
                  <a:cubicBezTo>
                    <a:pt x="1207" y="615"/>
                    <a:pt x="1207" y="615"/>
                    <a:pt x="1207" y="615"/>
                  </a:cubicBezTo>
                  <a:cubicBezTo>
                    <a:pt x="1189" y="599"/>
                    <a:pt x="1189" y="599"/>
                    <a:pt x="1189" y="599"/>
                  </a:cubicBezTo>
                  <a:cubicBezTo>
                    <a:pt x="1168" y="581"/>
                    <a:pt x="1168" y="581"/>
                    <a:pt x="1168" y="581"/>
                  </a:cubicBezTo>
                  <a:cubicBezTo>
                    <a:pt x="1144" y="560"/>
                    <a:pt x="1144" y="560"/>
                    <a:pt x="1144" y="560"/>
                  </a:cubicBezTo>
                  <a:cubicBezTo>
                    <a:pt x="1100" y="537"/>
                    <a:pt x="1100" y="537"/>
                    <a:pt x="1100" y="537"/>
                  </a:cubicBezTo>
                  <a:cubicBezTo>
                    <a:pt x="1061" y="488"/>
                    <a:pt x="1061" y="488"/>
                    <a:pt x="1061" y="488"/>
                  </a:cubicBezTo>
                  <a:cubicBezTo>
                    <a:pt x="1019" y="435"/>
                    <a:pt x="1019" y="435"/>
                    <a:pt x="1019" y="435"/>
                  </a:cubicBezTo>
                  <a:cubicBezTo>
                    <a:pt x="989" y="406"/>
                    <a:pt x="989" y="406"/>
                    <a:pt x="989" y="406"/>
                  </a:cubicBezTo>
                  <a:cubicBezTo>
                    <a:pt x="873" y="319"/>
                    <a:pt x="873" y="319"/>
                    <a:pt x="873" y="319"/>
                  </a:cubicBezTo>
                  <a:cubicBezTo>
                    <a:pt x="840" y="277"/>
                    <a:pt x="840" y="277"/>
                    <a:pt x="840" y="277"/>
                  </a:cubicBezTo>
                  <a:cubicBezTo>
                    <a:pt x="804" y="243"/>
                    <a:pt x="804" y="243"/>
                    <a:pt x="804" y="243"/>
                  </a:cubicBezTo>
                  <a:cubicBezTo>
                    <a:pt x="790" y="212"/>
                    <a:pt x="790" y="212"/>
                    <a:pt x="790" y="212"/>
                  </a:cubicBezTo>
                  <a:cubicBezTo>
                    <a:pt x="773" y="189"/>
                    <a:pt x="773" y="189"/>
                    <a:pt x="773" y="189"/>
                  </a:cubicBezTo>
                  <a:cubicBezTo>
                    <a:pt x="749" y="167"/>
                    <a:pt x="749" y="167"/>
                    <a:pt x="749" y="167"/>
                  </a:cubicBezTo>
                  <a:cubicBezTo>
                    <a:pt x="668" y="132"/>
                    <a:pt x="668" y="132"/>
                    <a:pt x="668" y="132"/>
                  </a:cubicBezTo>
                  <a:cubicBezTo>
                    <a:pt x="651" y="113"/>
                    <a:pt x="651" y="113"/>
                    <a:pt x="651" y="113"/>
                  </a:cubicBezTo>
                  <a:cubicBezTo>
                    <a:pt x="640" y="93"/>
                    <a:pt x="640" y="93"/>
                    <a:pt x="640" y="93"/>
                  </a:cubicBezTo>
                  <a:cubicBezTo>
                    <a:pt x="640" y="77"/>
                    <a:pt x="640" y="77"/>
                    <a:pt x="640" y="77"/>
                  </a:cubicBezTo>
                  <a:cubicBezTo>
                    <a:pt x="674" y="58"/>
                    <a:pt x="674" y="58"/>
                    <a:pt x="674" y="58"/>
                  </a:cubicBezTo>
                  <a:cubicBezTo>
                    <a:pt x="700" y="36"/>
                    <a:pt x="700" y="36"/>
                    <a:pt x="700" y="36"/>
                  </a:cubicBezTo>
                  <a:cubicBezTo>
                    <a:pt x="713" y="25"/>
                    <a:pt x="713" y="25"/>
                    <a:pt x="713" y="25"/>
                  </a:cubicBezTo>
                  <a:cubicBezTo>
                    <a:pt x="718" y="12"/>
                    <a:pt x="718" y="12"/>
                    <a:pt x="718" y="12"/>
                  </a:cubicBezTo>
                  <a:cubicBezTo>
                    <a:pt x="721" y="1"/>
                    <a:pt x="721" y="1"/>
                    <a:pt x="721" y="1"/>
                  </a:cubicBezTo>
                  <a:cubicBezTo>
                    <a:pt x="723" y="0"/>
                    <a:pt x="723" y="0"/>
                    <a:pt x="723" y="0"/>
                  </a:cubicBezTo>
                  <a:cubicBezTo>
                    <a:pt x="338" y="42"/>
                    <a:pt x="338" y="42"/>
                    <a:pt x="338" y="42"/>
                  </a:cubicBezTo>
                  <a:cubicBezTo>
                    <a:pt x="338" y="42"/>
                    <a:pt x="338" y="42"/>
                    <a:pt x="338" y="4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82" y="402"/>
                    <a:pt x="82" y="402"/>
                    <a:pt x="82" y="402"/>
                  </a:cubicBezTo>
                  <a:cubicBezTo>
                    <a:pt x="160" y="681"/>
                    <a:pt x="160" y="681"/>
                    <a:pt x="160" y="681"/>
                  </a:cubicBezTo>
                  <a:cubicBezTo>
                    <a:pt x="178" y="743"/>
                    <a:pt x="178" y="743"/>
                    <a:pt x="178" y="743"/>
                  </a:cubicBezTo>
                  <a:cubicBezTo>
                    <a:pt x="231" y="844"/>
                    <a:pt x="231" y="844"/>
                    <a:pt x="231" y="844"/>
                  </a:cubicBezTo>
                  <a:cubicBezTo>
                    <a:pt x="264" y="886"/>
                    <a:pt x="264" y="886"/>
                    <a:pt x="264" y="886"/>
                  </a:cubicBezTo>
                  <a:cubicBezTo>
                    <a:pt x="268" y="913"/>
                    <a:pt x="268" y="913"/>
                    <a:pt x="268" y="913"/>
                  </a:cubicBezTo>
                  <a:cubicBezTo>
                    <a:pt x="274" y="950"/>
                    <a:pt x="274" y="950"/>
                    <a:pt x="274" y="950"/>
                  </a:cubicBezTo>
                  <a:cubicBezTo>
                    <a:pt x="293" y="965"/>
                    <a:pt x="293" y="965"/>
                    <a:pt x="293" y="965"/>
                  </a:cubicBezTo>
                  <a:cubicBezTo>
                    <a:pt x="280" y="995"/>
                    <a:pt x="280" y="995"/>
                    <a:pt x="280" y="995"/>
                  </a:cubicBezTo>
                  <a:cubicBezTo>
                    <a:pt x="248" y="1018"/>
                    <a:pt x="248" y="1018"/>
                    <a:pt x="248" y="1018"/>
                  </a:cubicBezTo>
                  <a:cubicBezTo>
                    <a:pt x="270" y="1038"/>
                    <a:pt x="270" y="1038"/>
                    <a:pt x="270" y="1038"/>
                  </a:cubicBezTo>
                  <a:cubicBezTo>
                    <a:pt x="265" y="1075"/>
                    <a:pt x="265" y="1075"/>
                    <a:pt x="265" y="1075"/>
                  </a:cubicBezTo>
                  <a:cubicBezTo>
                    <a:pt x="248" y="1084"/>
                    <a:pt x="248" y="1084"/>
                    <a:pt x="248" y="1084"/>
                  </a:cubicBezTo>
                  <a:cubicBezTo>
                    <a:pt x="248" y="1131"/>
                    <a:pt x="248" y="1131"/>
                    <a:pt x="248" y="1131"/>
                  </a:cubicBezTo>
                  <a:cubicBezTo>
                    <a:pt x="260" y="1194"/>
                    <a:pt x="260" y="1194"/>
                    <a:pt x="260" y="1194"/>
                  </a:cubicBezTo>
                  <a:cubicBezTo>
                    <a:pt x="273" y="1220"/>
                    <a:pt x="273" y="1220"/>
                    <a:pt x="273" y="1220"/>
                  </a:cubicBezTo>
                  <a:cubicBezTo>
                    <a:pt x="282" y="1261"/>
                    <a:pt x="282" y="1261"/>
                    <a:pt x="282" y="1261"/>
                  </a:cubicBezTo>
                  <a:cubicBezTo>
                    <a:pt x="266" y="1273"/>
                    <a:pt x="266" y="1273"/>
                    <a:pt x="266" y="1273"/>
                  </a:cubicBezTo>
                  <a:cubicBezTo>
                    <a:pt x="260" y="1286"/>
                    <a:pt x="260" y="1286"/>
                    <a:pt x="260" y="1286"/>
                  </a:cubicBezTo>
                  <a:cubicBezTo>
                    <a:pt x="270" y="1317"/>
                    <a:pt x="270" y="1317"/>
                    <a:pt x="270" y="1317"/>
                  </a:cubicBezTo>
                  <a:cubicBezTo>
                    <a:pt x="290" y="1337"/>
                    <a:pt x="290" y="1337"/>
                    <a:pt x="290" y="1337"/>
                  </a:cubicBezTo>
                  <a:cubicBezTo>
                    <a:pt x="313" y="1376"/>
                    <a:pt x="313" y="1376"/>
                    <a:pt x="313" y="1376"/>
                  </a:cubicBezTo>
                  <a:cubicBezTo>
                    <a:pt x="319" y="1389"/>
                    <a:pt x="319" y="1389"/>
                    <a:pt x="319" y="1389"/>
                  </a:cubicBezTo>
                  <a:cubicBezTo>
                    <a:pt x="361" y="1479"/>
                    <a:pt x="361" y="1479"/>
                    <a:pt x="361" y="1479"/>
                  </a:cubicBezTo>
                  <a:cubicBezTo>
                    <a:pt x="1109" y="1433"/>
                    <a:pt x="1109" y="1433"/>
                    <a:pt x="1109" y="1433"/>
                  </a:cubicBezTo>
                  <a:cubicBezTo>
                    <a:pt x="1120" y="1498"/>
                    <a:pt x="1120" y="1498"/>
                    <a:pt x="1120" y="1498"/>
                  </a:cubicBezTo>
                  <a:cubicBezTo>
                    <a:pt x="1171" y="1498"/>
                    <a:pt x="1171" y="1498"/>
                    <a:pt x="1171" y="1498"/>
                  </a:cubicBezTo>
                  <a:cubicBezTo>
                    <a:pt x="1154" y="1337"/>
                    <a:pt x="1154" y="1337"/>
                    <a:pt x="1154" y="1337"/>
                  </a:cubicBezTo>
                  <a:cubicBezTo>
                    <a:pt x="1150" y="1337"/>
                    <a:pt x="1150" y="1337"/>
                    <a:pt x="1150" y="1337"/>
                  </a:cubicBezTo>
                  <a:cubicBezTo>
                    <a:pt x="1204" y="1344"/>
                    <a:pt x="1204" y="1344"/>
                    <a:pt x="1204" y="1344"/>
                  </a:cubicBezTo>
                  <a:cubicBezTo>
                    <a:pt x="1268" y="1357"/>
                    <a:pt x="1268" y="1357"/>
                    <a:pt x="1268" y="1357"/>
                  </a:cubicBezTo>
                  <a:cubicBezTo>
                    <a:pt x="1277" y="1335"/>
                    <a:pt x="1277" y="1335"/>
                    <a:pt x="1277" y="1335"/>
                  </a:cubicBezTo>
                  <a:cubicBezTo>
                    <a:pt x="1277" y="1335"/>
                    <a:pt x="1284" y="1309"/>
                    <a:pt x="1284" y="1307"/>
                  </a:cubicBezTo>
                  <a:cubicBezTo>
                    <a:pt x="1284" y="1305"/>
                    <a:pt x="1280" y="1302"/>
                    <a:pt x="1280" y="1302"/>
                  </a:cubicBezTo>
                  <a:cubicBezTo>
                    <a:pt x="1280" y="1302"/>
                    <a:pt x="1270" y="1297"/>
                    <a:pt x="1264" y="1292"/>
                  </a:cubicBezTo>
                  <a:cubicBezTo>
                    <a:pt x="1257" y="1288"/>
                    <a:pt x="1256" y="1283"/>
                    <a:pt x="1249" y="1277"/>
                  </a:cubicBezTo>
                  <a:cubicBezTo>
                    <a:pt x="1242" y="1271"/>
                    <a:pt x="1249" y="1269"/>
                    <a:pt x="1249" y="1269"/>
                  </a:cubicBezTo>
                  <a:cubicBezTo>
                    <a:pt x="1265" y="1269"/>
                    <a:pt x="1265" y="1269"/>
                    <a:pt x="1265" y="1269"/>
                  </a:cubicBezTo>
                  <a:cubicBezTo>
                    <a:pt x="1285" y="1269"/>
                    <a:pt x="1285" y="1269"/>
                    <a:pt x="1285" y="1269"/>
                  </a:cubicBezTo>
                  <a:cubicBezTo>
                    <a:pt x="1285" y="1269"/>
                    <a:pt x="1280" y="1251"/>
                    <a:pt x="1276" y="1240"/>
                  </a:cubicBezTo>
                  <a:cubicBezTo>
                    <a:pt x="1272" y="1228"/>
                    <a:pt x="1268" y="1227"/>
                    <a:pt x="1268" y="1227"/>
                  </a:cubicBezTo>
                  <a:cubicBezTo>
                    <a:pt x="1292" y="1221"/>
                    <a:pt x="1292" y="1221"/>
                    <a:pt x="1292" y="1221"/>
                  </a:cubicBezTo>
                  <a:cubicBezTo>
                    <a:pt x="1304" y="1208"/>
                    <a:pt x="1304" y="1208"/>
                    <a:pt x="1304" y="1208"/>
                  </a:cubicBezTo>
                  <a:cubicBezTo>
                    <a:pt x="1317" y="1170"/>
                    <a:pt x="1317" y="1170"/>
                    <a:pt x="1317" y="1170"/>
                  </a:cubicBezTo>
                  <a:cubicBezTo>
                    <a:pt x="1300" y="1162"/>
                    <a:pt x="1300" y="1162"/>
                    <a:pt x="1300" y="1162"/>
                  </a:cubicBezTo>
                  <a:cubicBezTo>
                    <a:pt x="1300" y="1162"/>
                    <a:pt x="1300" y="1156"/>
                    <a:pt x="1300" y="1154"/>
                  </a:cubicBezTo>
                  <a:cubicBezTo>
                    <a:pt x="1300" y="1152"/>
                    <a:pt x="1303" y="1148"/>
                    <a:pt x="1305" y="1146"/>
                  </a:cubicBezTo>
                  <a:cubicBezTo>
                    <a:pt x="1307" y="1144"/>
                    <a:pt x="1310" y="1135"/>
                    <a:pt x="1310" y="1135"/>
                  </a:cubicBezTo>
                  <a:cubicBezTo>
                    <a:pt x="1313" y="1113"/>
                    <a:pt x="1313" y="1113"/>
                    <a:pt x="1313" y="1113"/>
                  </a:cubicBezTo>
                  <a:cubicBezTo>
                    <a:pt x="1314" y="1070"/>
                    <a:pt x="1314" y="1070"/>
                    <a:pt x="1314" y="1070"/>
                  </a:cubicBezTo>
                  <a:cubicBezTo>
                    <a:pt x="1310" y="1045"/>
                    <a:pt x="1310" y="1045"/>
                    <a:pt x="1310" y="1045"/>
                  </a:cubicBezTo>
                  <a:cubicBezTo>
                    <a:pt x="1310" y="1045"/>
                    <a:pt x="1328" y="1048"/>
                    <a:pt x="1332" y="1048"/>
                  </a:cubicBezTo>
                  <a:cubicBezTo>
                    <a:pt x="1335" y="1048"/>
                    <a:pt x="1346" y="1051"/>
                    <a:pt x="1346" y="1051"/>
                  </a:cubicBezTo>
                  <a:cubicBezTo>
                    <a:pt x="1346" y="1051"/>
                    <a:pt x="1350" y="1043"/>
                    <a:pt x="1351" y="1041"/>
                  </a:cubicBezTo>
                  <a:cubicBezTo>
                    <a:pt x="1352" y="1040"/>
                    <a:pt x="1350" y="1039"/>
                    <a:pt x="1342" y="1032"/>
                  </a:cubicBezTo>
                  <a:cubicBezTo>
                    <a:pt x="1333" y="1025"/>
                    <a:pt x="1322" y="1017"/>
                    <a:pt x="1320" y="1016"/>
                  </a:cubicBezTo>
                  <a:cubicBezTo>
                    <a:pt x="1319" y="1014"/>
                    <a:pt x="1310" y="998"/>
                    <a:pt x="1310" y="998"/>
                  </a:cubicBezTo>
                  <a:cubicBezTo>
                    <a:pt x="1326" y="998"/>
                    <a:pt x="1326" y="998"/>
                    <a:pt x="1326" y="998"/>
                  </a:cubicBezTo>
                  <a:cubicBezTo>
                    <a:pt x="1359" y="998"/>
                    <a:pt x="1359" y="998"/>
                    <a:pt x="1359" y="998"/>
                  </a:cubicBezTo>
                  <a:cubicBezTo>
                    <a:pt x="1365" y="979"/>
                    <a:pt x="1365" y="979"/>
                    <a:pt x="1365" y="979"/>
                  </a:cubicBezTo>
                  <a:cubicBezTo>
                    <a:pt x="1365" y="979"/>
                    <a:pt x="1343" y="977"/>
                    <a:pt x="1341" y="976"/>
                  </a:cubicBezTo>
                  <a:cubicBezTo>
                    <a:pt x="1339" y="975"/>
                    <a:pt x="1326" y="963"/>
                    <a:pt x="1326" y="963"/>
                  </a:cubicBezTo>
                  <a:cubicBezTo>
                    <a:pt x="1334" y="951"/>
                    <a:pt x="1334" y="951"/>
                    <a:pt x="1334" y="951"/>
                  </a:cubicBezTo>
                  <a:cubicBezTo>
                    <a:pt x="1339" y="955"/>
                    <a:pt x="1339" y="955"/>
                    <a:pt x="1339" y="955"/>
                  </a:cubicBezTo>
                  <a:cubicBezTo>
                    <a:pt x="1369" y="955"/>
                    <a:pt x="1369" y="955"/>
                    <a:pt x="1369" y="955"/>
                  </a:cubicBezTo>
                  <a:cubicBezTo>
                    <a:pt x="1378" y="947"/>
                    <a:pt x="1378" y="947"/>
                    <a:pt x="1378" y="947"/>
                  </a:cubicBezTo>
                  <a:cubicBezTo>
                    <a:pt x="1378" y="928"/>
                    <a:pt x="1378" y="928"/>
                    <a:pt x="1378" y="928"/>
                  </a:cubicBezTo>
                  <a:cubicBezTo>
                    <a:pt x="1378" y="913"/>
                    <a:pt x="1378" y="913"/>
                    <a:pt x="1378" y="913"/>
                  </a:cubicBezTo>
                  <a:cubicBezTo>
                    <a:pt x="1392" y="900"/>
                    <a:pt x="1392" y="900"/>
                    <a:pt x="1392" y="900"/>
                  </a:cubicBezTo>
                  <a:cubicBezTo>
                    <a:pt x="1391" y="896"/>
                    <a:pt x="1391" y="896"/>
                    <a:pt x="1391" y="896"/>
                  </a:cubicBezTo>
                  <a:lnTo>
                    <a:pt x="1378" y="887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8">
              <a:extLst>
                <a:ext uri="{FF2B5EF4-FFF2-40B4-BE49-F238E27FC236}">
                  <a16:creationId xmlns:a16="http://schemas.microsoft.com/office/drawing/2014/main" id="{22F3D863-FC08-8BC0-F5CE-4CD281B26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3679" y="6978327"/>
              <a:ext cx="1455511" cy="821790"/>
            </a:xfrm>
            <a:custGeom>
              <a:avLst/>
              <a:gdLst>
                <a:gd name="T0" fmla="*/ 242 w 356"/>
                <a:gd name="T1" fmla="*/ 170 h 201"/>
                <a:gd name="T2" fmla="*/ 356 w 356"/>
                <a:gd name="T3" fmla="*/ 146 h 201"/>
                <a:gd name="T4" fmla="*/ 352 w 356"/>
                <a:gd name="T5" fmla="*/ 134 h 201"/>
                <a:gd name="T6" fmla="*/ 342 w 356"/>
                <a:gd name="T7" fmla="*/ 124 h 201"/>
                <a:gd name="T8" fmla="*/ 332 w 356"/>
                <a:gd name="T9" fmla="*/ 120 h 201"/>
                <a:gd name="T10" fmla="*/ 326 w 356"/>
                <a:gd name="T11" fmla="*/ 113 h 201"/>
                <a:gd name="T12" fmla="*/ 321 w 356"/>
                <a:gd name="T13" fmla="*/ 104 h 201"/>
                <a:gd name="T14" fmla="*/ 322 w 356"/>
                <a:gd name="T15" fmla="*/ 99 h 201"/>
                <a:gd name="T16" fmla="*/ 327 w 356"/>
                <a:gd name="T17" fmla="*/ 96 h 201"/>
                <a:gd name="T18" fmla="*/ 320 w 356"/>
                <a:gd name="T19" fmla="*/ 91 h 201"/>
                <a:gd name="T20" fmla="*/ 303 w 356"/>
                <a:gd name="T21" fmla="*/ 78 h 201"/>
                <a:gd name="T22" fmla="*/ 307 w 356"/>
                <a:gd name="T23" fmla="*/ 79 h 201"/>
                <a:gd name="T24" fmla="*/ 317 w 356"/>
                <a:gd name="T25" fmla="*/ 85 h 201"/>
                <a:gd name="T26" fmla="*/ 322 w 356"/>
                <a:gd name="T27" fmla="*/ 81 h 201"/>
                <a:gd name="T28" fmla="*/ 322 w 356"/>
                <a:gd name="T29" fmla="*/ 70 h 201"/>
                <a:gd name="T30" fmla="*/ 307 w 356"/>
                <a:gd name="T31" fmla="*/ 64 h 201"/>
                <a:gd name="T32" fmla="*/ 302 w 356"/>
                <a:gd name="T33" fmla="*/ 60 h 201"/>
                <a:gd name="T34" fmla="*/ 296 w 356"/>
                <a:gd name="T35" fmla="*/ 61 h 201"/>
                <a:gd name="T36" fmla="*/ 284 w 356"/>
                <a:gd name="T37" fmla="*/ 54 h 201"/>
                <a:gd name="T38" fmla="*/ 275 w 356"/>
                <a:gd name="T39" fmla="*/ 54 h 201"/>
                <a:gd name="T40" fmla="*/ 269 w 356"/>
                <a:gd name="T41" fmla="*/ 52 h 201"/>
                <a:gd name="T42" fmla="*/ 273 w 356"/>
                <a:gd name="T43" fmla="*/ 36 h 201"/>
                <a:gd name="T44" fmla="*/ 274 w 356"/>
                <a:gd name="T45" fmla="*/ 25 h 201"/>
                <a:gd name="T46" fmla="*/ 262 w 356"/>
                <a:gd name="T47" fmla="*/ 15 h 201"/>
                <a:gd name="T48" fmla="*/ 244 w 356"/>
                <a:gd name="T49" fmla="*/ 7 h 201"/>
                <a:gd name="T50" fmla="*/ 236 w 356"/>
                <a:gd name="T51" fmla="*/ 12 h 201"/>
                <a:gd name="T52" fmla="*/ 217 w 356"/>
                <a:gd name="T53" fmla="*/ 0 h 201"/>
                <a:gd name="T54" fmla="*/ 213 w 356"/>
                <a:gd name="T55" fmla="*/ 22 h 201"/>
                <a:gd name="T56" fmla="*/ 206 w 356"/>
                <a:gd name="T57" fmla="*/ 31 h 201"/>
                <a:gd name="T58" fmla="*/ 197 w 356"/>
                <a:gd name="T59" fmla="*/ 42 h 201"/>
                <a:gd name="T60" fmla="*/ 192 w 356"/>
                <a:gd name="T61" fmla="*/ 40 h 201"/>
                <a:gd name="T62" fmla="*/ 187 w 356"/>
                <a:gd name="T63" fmla="*/ 52 h 201"/>
                <a:gd name="T64" fmla="*/ 182 w 356"/>
                <a:gd name="T65" fmla="*/ 66 h 201"/>
                <a:gd name="T66" fmla="*/ 172 w 356"/>
                <a:gd name="T67" fmla="*/ 63 h 201"/>
                <a:gd name="T68" fmla="*/ 164 w 356"/>
                <a:gd name="T69" fmla="*/ 69 h 201"/>
                <a:gd name="T70" fmla="*/ 155 w 356"/>
                <a:gd name="T71" fmla="*/ 98 h 201"/>
                <a:gd name="T72" fmla="*/ 147 w 356"/>
                <a:gd name="T73" fmla="*/ 113 h 201"/>
                <a:gd name="T74" fmla="*/ 143 w 356"/>
                <a:gd name="T75" fmla="*/ 127 h 201"/>
                <a:gd name="T76" fmla="*/ 116 w 356"/>
                <a:gd name="T77" fmla="*/ 145 h 201"/>
                <a:gd name="T78" fmla="*/ 99 w 356"/>
                <a:gd name="T79" fmla="*/ 145 h 201"/>
                <a:gd name="T80" fmla="*/ 87 w 356"/>
                <a:gd name="T81" fmla="*/ 155 h 201"/>
                <a:gd name="T82" fmla="*/ 71 w 356"/>
                <a:gd name="T83" fmla="*/ 144 h 201"/>
                <a:gd name="T84" fmla="*/ 66 w 356"/>
                <a:gd name="T85" fmla="*/ 140 h 201"/>
                <a:gd name="T86" fmla="*/ 61 w 356"/>
                <a:gd name="T87" fmla="*/ 148 h 201"/>
                <a:gd name="T88" fmla="*/ 40 w 356"/>
                <a:gd name="T89" fmla="*/ 163 h 201"/>
                <a:gd name="T90" fmla="*/ 30 w 356"/>
                <a:gd name="T91" fmla="*/ 182 h 201"/>
                <a:gd name="T92" fmla="*/ 22 w 356"/>
                <a:gd name="T93" fmla="*/ 186 h 201"/>
                <a:gd name="T94" fmla="*/ 8 w 356"/>
                <a:gd name="T95" fmla="*/ 196 h 201"/>
                <a:gd name="T96" fmla="*/ 92 w 356"/>
                <a:gd name="T97" fmla="*/ 19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" h="201">
                  <a:moveTo>
                    <a:pt x="166" y="182"/>
                  </a:moveTo>
                  <a:lnTo>
                    <a:pt x="242" y="170"/>
                  </a:lnTo>
                  <a:lnTo>
                    <a:pt x="348" y="148"/>
                  </a:lnTo>
                  <a:lnTo>
                    <a:pt x="356" y="146"/>
                  </a:lnTo>
                  <a:lnTo>
                    <a:pt x="354" y="141"/>
                  </a:lnTo>
                  <a:lnTo>
                    <a:pt x="352" y="134"/>
                  </a:lnTo>
                  <a:lnTo>
                    <a:pt x="347" y="128"/>
                  </a:lnTo>
                  <a:lnTo>
                    <a:pt x="342" y="124"/>
                  </a:lnTo>
                  <a:lnTo>
                    <a:pt x="339" y="124"/>
                  </a:lnTo>
                  <a:lnTo>
                    <a:pt x="332" y="120"/>
                  </a:lnTo>
                  <a:lnTo>
                    <a:pt x="330" y="116"/>
                  </a:lnTo>
                  <a:lnTo>
                    <a:pt x="326" y="113"/>
                  </a:lnTo>
                  <a:lnTo>
                    <a:pt x="323" y="107"/>
                  </a:lnTo>
                  <a:lnTo>
                    <a:pt x="321" y="104"/>
                  </a:lnTo>
                  <a:lnTo>
                    <a:pt x="320" y="100"/>
                  </a:lnTo>
                  <a:lnTo>
                    <a:pt x="322" y="99"/>
                  </a:lnTo>
                  <a:lnTo>
                    <a:pt x="328" y="100"/>
                  </a:lnTo>
                  <a:lnTo>
                    <a:pt x="327" y="96"/>
                  </a:lnTo>
                  <a:lnTo>
                    <a:pt x="324" y="93"/>
                  </a:lnTo>
                  <a:lnTo>
                    <a:pt x="320" y="91"/>
                  </a:lnTo>
                  <a:lnTo>
                    <a:pt x="309" y="86"/>
                  </a:lnTo>
                  <a:lnTo>
                    <a:pt x="303" y="78"/>
                  </a:lnTo>
                  <a:lnTo>
                    <a:pt x="303" y="77"/>
                  </a:lnTo>
                  <a:lnTo>
                    <a:pt x="307" y="79"/>
                  </a:lnTo>
                  <a:lnTo>
                    <a:pt x="314" y="82"/>
                  </a:lnTo>
                  <a:lnTo>
                    <a:pt x="317" y="85"/>
                  </a:lnTo>
                  <a:lnTo>
                    <a:pt x="326" y="86"/>
                  </a:lnTo>
                  <a:lnTo>
                    <a:pt x="322" y="81"/>
                  </a:lnTo>
                  <a:lnTo>
                    <a:pt x="321" y="74"/>
                  </a:lnTo>
                  <a:lnTo>
                    <a:pt x="322" y="70"/>
                  </a:lnTo>
                  <a:lnTo>
                    <a:pt x="317" y="70"/>
                  </a:lnTo>
                  <a:lnTo>
                    <a:pt x="307" y="64"/>
                  </a:lnTo>
                  <a:lnTo>
                    <a:pt x="304" y="60"/>
                  </a:lnTo>
                  <a:lnTo>
                    <a:pt x="302" y="60"/>
                  </a:lnTo>
                  <a:lnTo>
                    <a:pt x="300" y="62"/>
                  </a:lnTo>
                  <a:lnTo>
                    <a:pt x="296" y="61"/>
                  </a:lnTo>
                  <a:lnTo>
                    <a:pt x="289" y="58"/>
                  </a:lnTo>
                  <a:lnTo>
                    <a:pt x="284" y="54"/>
                  </a:lnTo>
                  <a:lnTo>
                    <a:pt x="280" y="53"/>
                  </a:lnTo>
                  <a:lnTo>
                    <a:pt x="275" y="54"/>
                  </a:lnTo>
                  <a:lnTo>
                    <a:pt x="272" y="54"/>
                  </a:lnTo>
                  <a:lnTo>
                    <a:pt x="269" y="52"/>
                  </a:lnTo>
                  <a:lnTo>
                    <a:pt x="268" y="37"/>
                  </a:lnTo>
                  <a:lnTo>
                    <a:pt x="273" y="36"/>
                  </a:lnTo>
                  <a:lnTo>
                    <a:pt x="276" y="30"/>
                  </a:lnTo>
                  <a:lnTo>
                    <a:pt x="274" y="25"/>
                  </a:lnTo>
                  <a:lnTo>
                    <a:pt x="268" y="21"/>
                  </a:lnTo>
                  <a:lnTo>
                    <a:pt x="262" y="15"/>
                  </a:lnTo>
                  <a:lnTo>
                    <a:pt x="247" y="6"/>
                  </a:lnTo>
                  <a:lnTo>
                    <a:pt x="244" y="7"/>
                  </a:lnTo>
                  <a:lnTo>
                    <a:pt x="241" y="12"/>
                  </a:lnTo>
                  <a:lnTo>
                    <a:pt x="236" y="12"/>
                  </a:lnTo>
                  <a:lnTo>
                    <a:pt x="230" y="8"/>
                  </a:lnTo>
                  <a:lnTo>
                    <a:pt x="217" y="0"/>
                  </a:lnTo>
                  <a:lnTo>
                    <a:pt x="216" y="12"/>
                  </a:lnTo>
                  <a:lnTo>
                    <a:pt x="213" y="22"/>
                  </a:lnTo>
                  <a:lnTo>
                    <a:pt x="210" y="27"/>
                  </a:lnTo>
                  <a:lnTo>
                    <a:pt x="206" y="31"/>
                  </a:lnTo>
                  <a:lnTo>
                    <a:pt x="199" y="43"/>
                  </a:lnTo>
                  <a:lnTo>
                    <a:pt x="197" y="42"/>
                  </a:lnTo>
                  <a:lnTo>
                    <a:pt x="194" y="40"/>
                  </a:lnTo>
                  <a:lnTo>
                    <a:pt x="192" y="40"/>
                  </a:lnTo>
                  <a:lnTo>
                    <a:pt x="190" y="46"/>
                  </a:lnTo>
                  <a:lnTo>
                    <a:pt x="187" y="52"/>
                  </a:lnTo>
                  <a:lnTo>
                    <a:pt x="184" y="63"/>
                  </a:lnTo>
                  <a:lnTo>
                    <a:pt x="182" y="66"/>
                  </a:lnTo>
                  <a:lnTo>
                    <a:pt x="179" y="66"/>
                  </a:lnTo>
                  <a:lnTo>
                    <a:pt x="172" y="63"/>
                  </a:lnTo>
                  <a:lnTo>
                    <a:pt x="166" y="59"/>
                  </a:lnTo>
                  <a:lnTo>
                    <a:pt x="164" y="69"/>
                  </a:lnTo>
                  <a:lnTo>
                    <a:pt x="160" y="86"/>
                  </a:lnTo>
                  <a:lnTo>
                    <a:pt x="155" y="98"/>
                  </a:lnTo>
                  <a:lnTo>
                    <a:pt x="148" y="106"/>
                  </a:lnTo>
                  <a:lnTo>
                    <a:pt x="147" y="113"/>
                  </a:lnTo>
                  <a:lnTo>
                    <a:pt x="148" y="123"/>
                  </a:lnTo>
                  <a:lnTo>
                    <a:pt x="143" y="127"/>
                  </a:lnTo>
                  <a:lnTo>
                    <a:pt x="128" y="138"/>
                  </a:lnTo>
                  <a:lnTo>
                    <a:pt x="116" y="145"/>
                  </a:lnTo>
                  <a:lnTo>
                    <a:pt x="105" y="148"/>
                  </a:lnTo>
                  <a:lnTo>
                    <a:pt x="99" y="145"/>
                  </a:lnTo>
                  <a:lnTo>
                    <a:pt x="90" y="155"/>
                  </a:lnTo>
                  <a:lnTo>
                    <a:pt x="87" y="155"/>
                  </a:lnTo>
                  <a:lnTo>
                    <a:pt x="81" y="150"/>
                  </a:lnTo>
                  <a:lnTo>
                    <a:pt x="71" y="144"/>
                  </a:lnTo>
                  <a:lnTo>
                    <a:pt x="69" y="140"/>
                  </a:lnTo>
                  <a:lnTo>
                    <a:pt x="66" y="140"/>
                  </a:lnTo>
                  <a:lnTo>
                    <a:pt x="64" y="142"/>
                  </a:lnTo>
                  <a:lnTo>
                    <a:pt x="61" y="148"/>
                  </a:lnTo>
                  <a:lnTo>
                    <a:pt x="55" y="157"/>
                  </a:lnTo>
                  <a:lnTo>
                    <a:pt x="40" y="163"/>
                  </a:lnTo>
                  <a:lnTo>
                    <a:pt x="36" y="170"/>
                  </a:lnTo>
                  <a:lnTo>
                    <a:pt x="30" y="182"/>
                  </a:lnTo>
                  <a:lnTo>
                    <a:pt x="26" y="183"/>
                  </a:lnTo>
                  <a:lnTo>
                    <a:pt x="22" y="186"/>
                  </a:lnTo>
                  <a:lnTo>
                    <a:pt x="14" y="192"/>
                  </a:lnTo>
                  <a:lnTo>
                    <a:pt x="8" y="196"/>
                  </a:lnTo>
                  <a:lnTo>
                    <a:pt x="0" y="201"/>
                  </a:lnTo>
                  <a:lnTo>
                    <a:pt x="92" y="191"/>
                  </a:lnTo>
                  <a:lnTo>
                    <a:pt x="166" y="182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9">
              <a:extLst>
                <a:ext uri="{FF2B5EF4-FFF2-40B4-BE49-F238E27FC236}">
                  <a16:creationId xmlns:a16="http://schemas.microsoft.com/office/drawing/2014/main" id="{89E018D4-4F8A-3EC3-1EC2-7A990D4CE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20424" y="8078139"/>
              <a:ext cx="936271" cy="731843"/>
            </a:xfrm>
            <a:custGeom>
              <a:avLst/>
              <a:gdLst>
                <a:gd name="T0" fmla="*/ 649 w 1312"/>
                <a:gd name="T1" fmla="*/ 29 h 1022"/>
                <a:gd name="T2" fmla="*/ 549 w 1312"/>
                <a:gd name="T3" fmla="*/ 0 h 1022"/>
                <a:gd name="T4" fmla="*/ 467 w 1312"/>
                <a:gd name="T5" fmla="*/ 29 h 1022"/>
                <a:gd name="T6" fmla="*/ 400 w 1312"/>
                <a:gd name="T7" fmla="*/ 41 h 1022"/>
                <a:gd name="T8" fmla="*/ 269 w 1312"/>
                <a:gd name="T9" fmla="*/ 29 h 1022"/>
                <a:gd name="T10" fmla="*/ 183 w 1312"/>
                <a:gd name="T11" fmla="*/ 51 h 1022"/>
                <a:gd name="T12" fmla="*/ 81 w 1312"/>
                <a:gd name="T13" fmla="*/ 127 h 1022"/>
                <a:gd name="T14" fmla="*/ 73 w 1312"/>
                <a:gd name="T15" fmla="*/ 151 h 1022"/>
                <a:gd name="T16" fmla="*/ 34 w 1312"/>
                <a:gd name="T17" fmla="*/ 184 h 1022"/>
                <a:gd name="T18" fmla="*/ 0 w 1312"/>
                <a:gd name="T19" fmla="*/ 219 h 1022"/>
                <a:gd name="T20" fmla="*/ 28 w 1312"/>
                <a:gd name="T21" fmla="*/ 258 h 1022"/>
                <a:gd name="T22" fmla="*/ 133 w 1312"/>
                <a:gd name="T23" fmla="*/ 315 h 1022"/>
                <a:gd name="T24" fmla="*/ 164 w 1312"/>
                <a:gd name="T25" fmla="*/ 369 h 1022"/>
                <a:gd name="T26" fmla="*/ 233 w 1312"/>
                <a:gd name="T27" fmla="*/ 445 h 1022"/>
                <a:gd name="T28" fmla="*/ 379 w 1312"/>
                <a:gd name="T29" fmla="*/ 561 h 1022"/>
                <a:gd name="T30" fmla="*/ 460 w 1312"/>
                <a:gd name="T31" fmla="*/ 663 h 1022"/>
                <a:gd name="T32" fmla="*/ 528 w 1312"/>
                <a:gd name="T33" fmla="*/ 707 h 1022"/>
                <a:gd name="T34" fmla="*/ 567 w 1312"/>
                <a:gd name="T35" fmla="*/ 741 h 1022"/>
                <a:gd name="T36" fmla="*/ 603 w 1312"/>
                <a:gd name="T37" fmla="*/ 790 h 1022"/>
                <a:gd name="T38" fmla="*/ 616 w 1312"/>
                <a:gd name="T39" fmla="*/ 827 h 1022"/>
                <a:gd name="T40" fmla="*/ 631 w 1312"/>
                <a:gd name="T41" fmla="*/ 857 h 1022"/>
                <a:gd name="T42" fmla="*/ 655 w 1312"/>
                <a:gd name="T43" fmla="*/ 870 h 1022"/>
                <a:gd name="T44" fmla="*/ 676 w 1312"/>
                <a:gd name="T45" fmla="*/ 891 h 1022"/>
                <a:gd name="T46" fmla="*/ 689 w 1312"/>
                <a:gd name="T47" fmla="*/ 920 h 1022"/>
                <a:gd name="T48" fmla="*/ 710 w 1312"/>
                <a:gd name="T49" fmla="*/ 959 h 1022"/>
                <a:gd name="T50" fmla="*/ 719 w 1312"/>
                <a:gd name="T51" fmla="*/ 1003 h 1022"/>
                <a:gd name="T52" fmla="*/ 752 w 1312"/>
                <a:gd name="T53" fmla="*/ 1022 h 1022"/>
                <a:gd name="T54" fmla="*/ 762 w 1312"/>
                <a:gd name="T55" fmla="*/ 974 h 1022"/>
                <a:gd name="T56" fmla="*/ 805 w 1312"/>
                <a:gd name="T57" fmla="*/ 974 h 1022"/>
                <a:gd name="T58" fmla="*/ 812 w 1312"/>
                <a:gd name="T59" fmla="*/ 952 h 1022"/>
                <a:gd name="T60" fmla="*/ 774 w 1312"/>
                <a:gd name="T61" fmla="*/ 943 h 1022"/>
                <a:gd name="T62" fmla="*/ 762 w 1312"/>
                <a:gd name="T63" fmla="*/ 924 h 1022"/>
                <a:gd name="T64" fmla="*/ 796 w 1312"/>
                <a:gd name="T65" fmla="*/ 917 h 1022"/>
                <a:gd name="T66" fmla="*/ 827 w 1312"/>
                <a:gd name="T67" fmla="*/ 937 h 1022"/>
                <a:gd name="T68" fmla="*/ 859 w 1312"/>
                <a:gd name="T69" fmla="*/ 888 h 1022"/>
                <a:gd name="T70" fmla="*/ 854 w 1312"/>
                <a:gd name="T71" fmla="*/ 856 h 1022"/>
                <a:gd name="T72" fmla="*/ 904 w 1312"/>
                <a:gd name="T73" fmla="*/ 856 h 1022"/>
                <a:gd name="T74" fmla="*/ 933 w 1312"/>
                <a:gd name="T75" fmla="*/ 824 h 1022"/>
                <a:gd name="T76" fmla="*/ 905 w 1312"/>
                <a:gd name="T77" fmla="*/ 816 h 1022"/>
                <a:gd name="T78" fmla="*/ 895 w 1312"/>
                <a:gd name="T79" fmla="*/ 800 h 1022"/>
                <a:gd name="T80" fmla="*/ 924 w 1312"/>
                <a:gd name="T81" fmla="*/ 800 h 1022"/>
                <a:gd name="T82" fmla="*/ 958 w 1312"/>
                <a:gd name="T83" fmla="*/ 808 h 1022"/>
                <a:gd name="T84" fmla="*/ 1008 w 1312"/>
                <a:gd name="T85" fmla="*/ 761 h 1022"/>
                <a:gd name="T86" fmla="*/ 980 w 1312"/>
                <a:gd name="T87" fmla="*/ 727 h 1022"/>
                <a:gd name="T88" fmla="*/ 989 w 1312"/>
                <a:gd name="T89" fmla="*/ 713 h 1022"/>
                <a:gd name="T90" fmla="*/ 1036 w 1312"/>
                <a:gd name="T91" fmla="*/ 716 h 1022"/>
                <a:gd name="T92" fmla="*/ 1074 w 1312"/>
                <a:gd name="T93" fmla="*/ 645 h 1022"/>
                <a:gd name="T94" fmla="*/ 1134 w 1312"/>
                <a:gd name="T95" fmla="*/ 614 h 1022"/>
                <a:gd name="T96" fmla="*/ 1168 w 1312"/>
                <a:gd name="T97" fmla="*/ 561 h 1022"/>
                <a:gd name="T98" fmla="*/ 1146 w 1312"/>
                <a:gd name="T99" fmla="*/ 523 h 1022"/>
                <a:gd name="T100" fmla="*/ 1170 w 1312"/>
                <a:gd name="T101" fmla="*/ 523 h 1022"/>
                <a:gd name="T102" fmla="*/ 1179 w 1312"/>
                <a:gd name="T103" fmla="*/ 483 h 1022"/>
                <a:gd name="T104" fmla="*/ 1210 w 1312"/>
                <a:gd name="T105" fmla="*/ 414 h 1022"/>
                <a:gd name="T106" fmla="*/ 1236 w 1312"/>
                <a:gd name="T107" fmla="*/ 373 h 1022"/>
                <a:gd name="T108" fmla="*/ 1293 w 1312"/>
                <a:gd name="T109" fmla="*/ 321 h 1022"/>
                <a:gd name="T110" fmla="*/ 954 w 1312"/>
                <a:gd name="T111" fmla="*/ 42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12" h="1022">
                  <a:moveTo>
                    <a:pt x="681" y="95"/>
                  </a:moveTo>
                  <a:cubicBezTo>
                    <a:pt x="649" y="29"/>
                    <a:pt x="649" y="29"/>
                    <a:pt x="649" y="29"/>
                  </a:cubicBezTo>
                  <a:cubicBezTo>
                    <a:pt x="606" y="9"/>
                    <a:pt x="606" y="9"/>
                    <a:pt x="606" y="9"/>
                  </a:cubicBezTo>
                  <a:cubicBezTo>
                    <a:pt x="549" y="0"/>
                    <a:pt x="549" y="0"/>
                    <a:pt x="549" y="0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467" y="29"/>
                    <a:pt x="467" y="29"/>
                    <a:pt x="467" y="29"/>
                  </a:cubicBezTo>
                  <a:cubicBezTo>
                    <a:pt x="443" y="37"/>
                    <a:pt x="443" y="37"/>
                    <a:pt x="443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21" y="29"/>
                    <a:pt x="321" y="29"/>
                    <a:pt x="321" y="29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12" y="37"/>
                    <a:pt x="212" y="37"/>
                    <a:pt x="212" y="37"/>
                  </a:cubicBezTo>
                  <a:cubicBezTo>
                    <a:pt x="183" y="51"/>
                    <a:pt x="183" y="51"/>
                    <a:pt x="183" y="51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7"/>
                    <a:pt x="81" y="127"/>
                    <a:pt x="81" y="127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34" y="184"/>
                    <a:pt x="34" y="184"/>
                    <a:pt x="34" y="184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11" y="239"/>
                    <a:pt x="11" y="239"/>
                    <a:pt x="11" y="239"/>
                  </a:cubicBezTo>
                  <a:cubicBezTo>
                    <a:pt x="28" y="258"/>
                    <a:pt x="28" y="258"/>
                    <a:pt x="28" y="258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33" y="315"/>
                    <a:pt x="133" y="315"/>
                    <a:pt x="133" y="315"/>
                  </a:cubicBezTo>
                  <a:cubicBezTo>
                    <a:pt x="150" y="338"/>
                    <a:pt x="150" y="338"/>
                    <a:pt x="150" y="338"/>
                  </a:cubicBezTo>
                  <a:cubicBezTo>
                    <a:pt x="164" y="369"/>
                    <a:pt x="164" y="369"/>
                    <a:pt x="164" y="369"/>
                  </a:cubicBezTo>
                  <a:cubicBezTo>
                    <a:pt x="200" y="403"/>
                    <a:pt x="200" y="403"/>
                    <a:pt x="200" y="403"/>
                  </a:cubicBezTo>
                  <a:cubicBezTo>
                    <a:pt x="233" y="445"/>
                    <a:pt x="233" y="445"/>
                    <a:pt x="233" y="445"/>
                  </a:cubicBezTo>
                  <a:cubicBezTo>
                    <a:pt x="349" y="532"/>
                    <a:pt x="349" y="532"/>
                    <a:pt x="349" y="532"/>
                  </a:cubicBezTo>
                  <a:cubicBezTo>
                    <a:pt x="379" y="561"/>
                    <a:pt x="379" y="561"/>
                    <a:pt x="379" y="561"/>
                  </a:cubicBezTo>
                  <a:cubicBezTo>
                    <a:pt x="421" y="614"/>
                    <a:pt x="421" y="614"/>
                    <a:pt x="421" y="614"/>
                  </a:cubicBezTo>
                  <a:cubicBezTo>
                    <a:pt x="460" y="663"/>
                    <a:pt x="460" y="663"/>
                    <a:pt x="460" y="663"/>
                  </a:cubicBezTo>
                  <a:cubicBezTo>
                    <a:pt x="504" y="686"/>
                    <a:pt x="504" y="686"/>
                    <a:pt x="504" y="686"/>
                  </a:cubicBezTo>
                  <a:cubicBezTo>
                    <a:pt x="528" y="707"/>
                    <a:pt x="528" y="707"/>
                    <a:pt x="528" y="707"/>
                  </a:cubicBezTo>
                  <a:cubicBezTo>
                    <a:pt x="549" y="725"/>
                    <a:pt x="549" y="725"/>
                    <a:pt x="549" y="725"/>
                  </a:cubicBezTo>
                  <a:cubicBezTo>
                    <a:pt x="567" y="741"/>
                    <a:pt x="567" y="741"/>
                    <a:pt x="567" y="741"/>
                  </a:cubicBezTo>
                  <a:cubicBezTo>
                    <a:pt x="579" y="757"/>
                    <a:pt x="579" y="757"/>
                    <a:pt x="579" y="757"/>
                  </a:cubicBezTo>
                  <a:cubicBezTo>
                    <a:pt x="603" y="790"/>
                    <a:pt x="603" y="790"/>
                    <a:pt x="603" y="790"/>
                  </a:cubicBezTo>
                  <a:cubicBezTo>
                    <a:pt x="616" y="809"/>
                    <a:pt x="616" y="809"/>
                    <a:pt x="616" y="809"/>
                  </a:cubicBezTo>
                  <a:cubicBezTo>
                    <a:pt x="616" y="827"/>
                    <a:pt x="616" y="827"/>
                    <a:pt x="616" y="827"/>
                  </a:cubicBezTo>
                  <a:cubicBezTo>
                    <a:pt x="623" y="848"/>
                    <a:pt x="623" y="848"/>
                    <a:pt x="623" y="848"/>
                  </a:cubicBezTo>
                  <a:cubicBezTo>
                    <a:pt x="631" y="857"/>
                    <a:pt x="631" y="857"/>
                    <a:pt x="631" y="857"/>
                  </a:cubicBezTo>
                  <a:cubicBezTo>
                    <a:pt x="641" y="857"/>
                    <a:pt x="641" y="857"/>
                    <a:pt x="641" y="857"/>
                  </a:cubicBezTo>
                  <a:cubicBezTo>
                    <a:pt x="655" y="870"/>
                    <a:pt x="655" y="870"/>
                    <a:pt x="655" y="870"/>
                  </a:cubicBezTo>
                  <a:cubicBezTo>
                    <a:pt x="676" y="883"/>
                    <a:pt x="676" y="883"/>
                    <a:pt x="676" y="883"/>
                  </a:cubicBezTo>
                  <a:cubicBezTo>
                    <a:pt x="676" y="891"/>
                    <a:pt x="676" y="891"/>
                    <a:pt x="676" y="891"/>
                  </a:cubicBezTo>
                  <a:cubicBezTo>
                    <a:pt x="676" y="904"/>
                    <a:pt x="676" y="904"/>
                    <a:pt x="676" y="904"/>
                  </a:cubicBezTo>
                  <a:cubicBezTo>
                    <a:pt x="689" y="920"/>
                    <a:pt x="689" y="920"/>
                    <a:pt x="689" y="920"/>
                  </a:cubicBezTo>
                  <a:cubicBezTo>
                    <a:pt x="710" y="948"/>
                    <a:pt x="710" y="948"/>
                    <a:pt x="710" y="948"/>
                  </a:cubicBezTo>
                  <a:cubicBezTo>
                    <a:pt x="710" y="959"/>
                    <a:pt x="710" y="959"/>
                    <a:pt x="710" y="959"/>
                  </a:cubicBezTo>
                  <a:cubicBezTo>
                    <a:pt x="710" y="987"/>
                    <a:pt x="710" y="987"/>
                    <a:pt x="710" y="987"/>
                  </a:cubicBezTo>
                  <a:cubicBezTo>
                    <a:pt x="719" y="1003"/>
                    <a:pt x="719" y="1003"/>
                    <a:pt x="719" y="1003"/>
                  </a:cubicBezTo>
                  <a:cubicBezTo>
                    <a:pt x="738" y="1013"/>
                    <a:pt x="738" y="1013"/>
                    <a:pt x="738" y="1013"/>
                  </a:cubicBezTo>
                  <a:cubicBezTo>
                    <a:pt x="752" y="1022"/>
                    <a:pt x="752" y="1022"/>
                    <a:pt x="752" y="1022"/>
                  </a:cubicBezTo>
                  <a:cubicBezTo>
                    <a:pt x="752" y="981"/>
                    <a:pt x="752" y="981"/>
                    <a:pt x="752" y="981"/>
                  </a:cubicBezTo>
                  <a:cubicBezTo>
                    <a:pt x="762" y="974"/>
                    <a:pt x="762" y="974"/>
                    <a:pt x="762" y="974"/>
                  </a:cubicBezTo>
                  <a:cubicBezTo>
                    <a:pt x="795" y="974"/>
                    <a:pt x="795" y="974"/>
                    <a:pt x="795" y="974"/>
                  </a:cubicBezTo>
                  <a:cubicBezTo>
                    <a:pt x="805" y="974"/>
                    <a:pt x="805" y="974"/>
                    <a:pt x="805" y="974"/>
                  </a:cubicBezTo>
                  <a:cubicBezTo>
                    <a:pt x="805" y="974"/>
                    <a:pt x="819" y="964"/>
                    <a:pt x="820" y="961"/>
                  </a:cubicBezTo>
                  <a:cubicBezTo>
                    <a:pt x="821" y="958"/>
                    <a:pt x="812" y="952"/>
                    <a:pt x="812" y="952"/>
                  </a:cubicBezTo>
                  <a:cubicBezTo>
                    <a:pt x="804" y="952"/>
                    <a:pt x="804" y="952"/>
                    <a:pt x="804" y="952"/>
                  </a:cubicBezTo>
                  <a:cubicBezTo>
                    <a:pt x="804" y="952"/>
                    <a:pt x="780" y="944"/>
                    <a:pt x="774" y="943"/>
                  </a:cubicBezTo>
                  <a:cubicBezTo>
                    <a:pt x="769" y="942"/>
                    <a:pt x="762" y="932"/>
                    <a:pt x="762" y="932"/>
                  </a:cubicBezTo>
                  <a:cubicBezTo>
                    <a:pt x="762" y="924"/>
                    <a:pt x="762" y="924"/>
                    <a:pt x="762" y="924"/>
                  </a:cubicBezTo>
                  <a:cubicBezTo>
                    <a:pt x="768" y="892"/>
                    <a:pt x="768" y="892"/>
                    <a:pt x="768" y="892"/>
                  </a:cubicBezTo>
                  <a:cubicBezTo>
                    <a:pt x="796" y="917"/>
                    <a:pt x="796" y="917"/>
                    <a:pt x="796" y="917"/>
                  </a:cubicBezTo>
                  <a:cubicBezTo>
                    <a:pt x="807" y="922"/>
                    <a:pt x="807" y="922"/>
                    <a:pt x="807" y="922"/>
                  </a:cubicBezTo>
                  <a:cubicBezTo>
                    <a:pt x="827" y="937"/>
                    <a:pt x="827" y="937"/>
                    <a:pt x="827" y="937"/>
                  </a:cubicBezTo>
                  <a:cubicBezTo>
                    <a:pt x="854" y="926"/>
                    <a:pt x="854" y="926"/>
                    <a:pt x="854" y="926"/>
                  </a:cubicBezTo>
                  <a:cubicBezTo>
                    <a:pt x="859" y="888"/>
                    <a:pt x="859" y="888"/>
                    <a:pt x="859" y="888"/>
                  </a:cubicBezTo>
                  <a:cubicBezTo>
                    <a:pt x="859" y="878"/>
                    <a:pt x="859" y="878"/>
                    <a:pt x="859" y="878"/>
                  </a:cubicBezTo>
                  <a:cubicBezTo>
                    <a:pt x="854" y="856"/>
                    <a:pt x="854" y="856"/>
                    <a:pt x="854" y="856"/>
                  </a:cubicBezTo>
                  <a:cubicBezTo>
                    <a:pt x="871" y="856"/>
                    <a:pt x="871" y="856"/>
                    <a:pt x="871" y="856"/>
                  </a:cubicBezTo>
                  <a:cubicBezTo>
                    <a:pt x="904" y="856"/>
                    <a:pt x="904" y="856"/>
                    <a:pt x="904" y="856"/>
                  </a:cubicBezTo>
                  <a:cubicBezTo>
                    <a:pt x="933" y="835"/>
                    <a:pt x="933" y="835"/>
                    <a:pt x="933" y="835"/>
                  </a:cubicBezTo>
                  <a:cubicBezTo>
                    <a:pt x="933" y="824"/>
                    <a:pt x="933" y="824"/>
                    <a:pt x="933" y="824"/>
                  </a:cubicBezTo>
                  <a:cubicBezTo>
                    <a:pt x="921" y="816"/>
                    <a:pt x="921" y="816"/>
                    <a:pt x="921" y="816"/>
                  </a:cubicBezTo>
                  <a:cubicBezTo>
                    <a:pt x="905" y="816"/>
                    <a:pt x="905" y="816"/>
                    <a:pt x="905" y="816"/>
                  </a:cubicBezTo>
                  <a:cubicBezTo>
                    <a:pt x="895" y="808"/>
                    <a:pt x="895" y="808"/>
                    <a:pt x="895" y="808"/>
                  </a:cubicBezTo>
                  <a:cubicBezTo>
                    <a:pt x="895" y="800"/>
                    <a:pt x="895" y="800"/>
                    <a:pt x="895" y="800"/>
                  </a:cubicBezTo>
                  <a:cubicBezTo>
                    <a:pt x="915" y="794"/>
                    <a:pt x="915" y="794"/>
                    <a:pt x="915" y="794"/>
                  </a:cubicBezTo>
                  <a:cubicBezTo>
                    <a:pt x="924" y="800"/>
                    <a:pt x="924" y="800"/>
                    <a:pt x="924" y="800"/>
                  </a:cubicBezTo>
                  <a:cubicBezTo>
                    <a:pt x="942" y="808"/>
                    <a:pt x="942" y="808"/>
                    <a:pt x="942" y="808"/>
                  </a:cubicBezTo>
                  <a:cubicBezTo>
                    <a:pt x="958" y="808"/>
                    <a:pt x="958" y="808"/>
                    <a:pt x="958" y="808"/>
                  </a:cubicBezTo>
                  <a:cubicBezTo>
                    <a:pt x="982" y="793"/>
                    <a:pt x="982" y="793"/>
                    <a:pt x="982" y="793"/>
                  </a:cubicBezTo>
                  <a:cubicBezTo>
                    <a:pt x="1008" y="761"/>
                    <a:pt x="1008" y="761"/>
                    <a:pt x="1008" y="761"/>
                  </a:cubicBezTo>
                  <a:cubicBezTo>
                    <a:pt x="997" y="741"/>
                    <a:pt x="997" y="741"/>
                    <a:pt x="997" y="741"/>
                  </a:cubicBezTo>
                  <a:cubicBezTo>
                    <a:pt x="980" y="727"/>
                    <a:pt x="980" y="727"/>
                    <a:pt x="980" y="727"/>
                  </a:cubicBezTo>
                  <a:cubicBezTo>
                    <a:pt x="975" y="718"/>
                    <a:pt x="975" y="718"/>
                    <a:pt x="975" y="718"/>
                  </a:cubicBezTo>
                  <a:cubicBezTo>
                    <a:pt x="989" y="713"/>
                    <a:pt x="989" y="713"/>
                    <a:pt x="989" y="713"/>
                  </a:cubicBezTo>
                  <a:cubicBezTo>
                    <a:pt x="1020" y="727"/>
                    <a:pt x="1020" y="727"/>
                    <a:pt x="1020" y="727"/>
                  </a:cubicBezTo>
                  <a:cubicBezTo>
                    <a:pt x="1036" y="716"/>
                    <a:pt x="1036" y="716"/>
                    <a:pt x="1036" y="716"/>
                  </a:cubicBezTo>
                  <a:cubicBezTo>
                    <a:pt x="1049" y="697"/>
                    <a:pt x="1049" y="697"/>
                    <a:pt x="1049" y="697"/>
                  </a:cubicBezTo>
                  <a:cubicBezTo>
                    <a:pt x="1074" y="645"/>
                    <a:pt x="1074" y="645"/>
                    <a:pt x="1074" y="645"/>
                  </a:cubicBezTo>
                  <a:cubicBezTo>
                    <a:pt x="1105" y="628"/>
                    <a:pt x="1105" y="628"/>
                    <a:pt x="1105" y="628"/>
                  </a:cubicBezTo>
                  <a:cubicBezTo>
                    <a:pt x="1134" y="614"/>
                    <a:pt x="1134" y="614"/>
                    <a:pt x="1134" y="614"/>
                  </a:cubicBezTo>
                  <a:cubicBezTo>
                    <a:pt x="1158" y="580"/>
                    <a:pt x="1158" y="580"/>
                    <a:pt x="1158" y="580"/>
                  </a:cubicBezTo>
                  <a:cubicBezTo>
                    <a:pt x="1168" y="561"/>
                    <a:pt x="1168" y="561"/>
                    <a:pt x="1168" y="561"/>
                  </a:cubicBezTo>
                  <a:cubicBezTo>
                    <a:pt x="1156" y="545"/>
                    <a:pt x="1156" y="545"/>
                    <a:pt x="1156" y="545"/>
                  </a:cubicBezTo>
                  <a:cubicBezTo>
                    <a:pt x="1146" y="523"/>
                    <a:pt x="1146" y="523"/>
                    <a:pt x="1146" y="523"/>
                  </a:cubicBezTo>
                  <a:cubicBezTo>
                    <a:pt x="1155" y="517"/>
                    <a:pt x="1155" y="517"/>
                    <a:pt x="1155" y="517"/>
                  </a:cubicBezTo>
                  <a:cubicBezTo>
                    <a:pt x="1170" y="523"/>
                    <a:pt x="1170" y="523"/>
                    <a:pt x="1170" y="523"/>
                  </a:cubicBezTo>
                  <a:cubicBezTo>
                    <a:pt x="1170" y="500"/>
                    <a:pt x="1170" y="500"/>
                    <a:pt x="1170" y="500"/>
                  </a:cubicBezTo>
                  <a:cubicBezTo>
                    <a:pt x="1179" y="483"/>
                    <a:pt x="1179" y="483"/>
                    <a:pt x="1179" y="483"/>
                  </a:cubicBezTo>
                  <a:cubicBezTo>
                    <a:pt x="1200" y="455"/>
                    <a:pt x="1200" y="455"/>
                    <a:pt x="1200" y="455"/>
                  </a:cubicBezTo>
                  <a:cubicBezTo>
                    <a:pt x="1210" y="414"/>
                    <a:pt x="1210" y="414"/>
                    <a:pt x="1210" y="414"/>
                  </a:cubicBezTo>
                  <a:cubicBezTo>
                    <a:pt x="1224" y="391"/>
                    <a:pt x="1224" y="391"/>
                    <a:pt x="1224" y="391"/>
                  </a:cubicBezTo>
                  <a:cubicBezTo>
                    <a:pt x="1236" y="373"/>
                    <a:pt x="1236" y="373"/>
                    <a:pt x="1236" y="373"/>
                  </a:cubicBezTo>
                  <a:cubicBezTo>
                    <a:pt x="1245" y="360"/>
                    <a:pt x="1245" y="360"/>
                    <a:pt x="1245" y="360"/>
                  </a:cubicBezTo>
                  <a:cubicBezTo>
                    <a:pt x="1293" y="321"/>
                    <a:pt x="1293" y="321"/>
                    <a:pt x="1293" y="321"/>
                  </a:cubicBezTo>
                  <a:cubicBezTo>
                    <a:pt x="1312" y="303"/>
                    <a:pt x="1312" y="303"/>
                    <a:pt x="1312" y="303"/>
                  </a:cubicBezTo>
                  <a:cubicBezTo>
                    <a:pt x="954" y="42"/>
                    <a:pt x="954" y="42"/>
                    <a:pt x="954" y="42"/>
                  </a:cubicBezTo>
                  <a:lnTo>
                    <a:pt x="681" y="95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40">
              <a:extLst>
                <a:ext uri="{FF2B5EF4-FFF2-40B4-BE49-F238E27FC236}">
                  <a16:creationId xmlns:a16="http://schemas.microsoft.com/office/drawing/2014/main" id="{9A5704E9-AE92-F629-3E5D-BCF17B086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5534" y="8213059"/>
              <a:ext cx="735933" cy="1181580"/>
            </a:xfrm>
            <a:custGeom>
              <a:avLst/>
              <a:gdLst>
                <a:gd name="T0" fmla="*/ 56 w 180"/>
                <a:gd name="T1" fmla="*/ 263 h 289"/>
                <a:gd name="T2" fmla="*/ 48 w 180"/>
                <a:gd name="T3" fmla="*/ 253 h 289"/>
                <a:gd name="T4" fmla="*/ 51 w 180"/>
                <a:gd name="T5" fmla="*/ 247 h 289"/>
                <a:gd name="T6" fmla="*/ 74 w 180"/>
                <a:gd name="T7" fmla="*/ 242 h 289"/>
                <a:gd name="T8" fmla="*/ 179 w 180"/>
                <a:gd name="T9" fmla="*/ 230 h 289"/>
                <a:gd name="T10" fmla="*/ 171 w 180"/>
                <a:gd name="T11" fmla="*/ 220 h 289"/>
                <a:gd name="T12" fmla="*/ 170 w 180"/>
                <a:gd name="T13" fmla="*/ 212 h 289"/>
                <a:gd name="T14" fmla="*/ 172 w 180"/>
                <a:gd name="T15" fmla="*/ 203 h 289"/>
                <a:gd name="T16" fmla="*/ 167 w 180"/>
                <a:gd name="T17" fmla="*/ 187 h 289"/>
                <a:gd name="T18" fmla="*/ 170 w 180"/>
                <a:gd name="T19" fmla="*/ 177 h 289"/>
                <a:gd name="T20" fmla="*/ 167 w 180"/>
                <a:gd name="T21" fmla="*/ 167 h 289"/>
                <a:gd name="T22" fmla="*/ 175 w 180"/>
                <a:gd name="T23" fmla="*/ 158 h 289"/>
                <a:gd name="T24" fmla="*/ 171 w 180"/>
                <a:gd name="T25" fmla="*/ 149 h 289"/>
                <a:gd name="T26" fmla="*/ 164 w 180"/>
                <a:gd name="T27" fmla="*/ 137 h 289"/>
                <a:gd name="T28" fmla="*/ 152 w 180"/>
                <a:gd name="T29" fmla="*/ 108 h 289"/>
                <a:gd name="T30" fmla="*/ 128 w 180"/>
                <a:gd name="T31" fmla="*/ 18 h 289"/>
                <a:gd name="T32" fmla="*/ 134 w 180"/>
                <a:gd name="T33" fmla="*/ 0 h 289"/>
                <a:gd name="T34" fmla="*/ 2 w 180"/>
                <a:gd name="T35" fmla="*/ 11 h 289"/>
                <a:gd name="T36" fmla="*/ 0 w 180"/>
                <a:gd name="T37" fmla="*/ 153 h 289"/>
                <a:gd name="T38" fmla="*/ 9 w 180"/>
                <a:gd name="T39" fmla="*/ 281 h 289"/>
                <a:gd name="T40" fmla="*/ 16 w 180"/>
                <a:gd name="T41" fmla="*/ 283 h 289"/>
                <a:gd name="T42" fmla="*/ 23 w 180"/>
                <a:gd name="T43" fmla="*/ 280 h 289"/>
                <a:gd name="T44" fmla="*/ 23 w 180"/>
                <a:gd name="T45" fmla="*/ 268 h 289"/>
                <a:gd name="T46" fmla="*/ 30 w 180"/>
                <a:gd name="T47" fmla="*/ 265 h 289"/>
                <a:gd name="T48" fmla="*/ 32 w 180"/>
                <a:gd name="T49" fmla="*/ 271 h 289"/>
                <a:gd name="T50" fmla="*/ 32 w 180"/>
                <a:gd name="T51" fmla="*/ 277 h 289"/>
                <a:gd name="T52" fmla="*/ 36 w 180"/>
                <a:gd name="T53" fmla="*/ 280 h 289"/>
                <a:gd name="T54" fmla="*/ 39 w 180"/>
                <a:gd name="T55" fmla="*/ 286 h 289"/>
                <a:gd name="T56" fmla="*/ 36 w 180"/>
                <a:gd name="T57" fmla="*/ 289 h 289"/>
                <a:gd name="T58" fmla="*/ 45 w 180"/>
                <a:gd name="T59" fmla="*/ 287 h 289"/>
                <a:gd name="T60" fmla="*/ 54 w 180"/>
                <a:gd name="T61" fmla="*/ 283 h 289"/>
                <a:gd name="T62" fmla="*/ 61 w 180"/>
                <a:gd name="T63" fmla="*/ 281 h 289"/>
                <a:gd name="T64" fmla="*/ 63 w 180"/>
                <a:gd name="T65" fmla="*/ 28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0" h="289">
                  <a:moveTo>
                    <a:pt x="58" y="269"/>
                  </a:moveTo>
                  <a:lnTo>
                    <a:pt x="56" y="263"/>
                  </a:lnTo>
                  <a:lnTo>
                    <a:pt x="51" y="256"/>
                  </a:lnTo>
                  <a:lnTo>
                    <a:pt x="48" y="253"/>
                  </a:lnTo>
                  <a:lnTo>
                    <a:pt x="48" y="249"/>
                  </a:lnTo>
                  <a:lnTo>
                    <a:pt x="51" y="247"/>
                  </a:lnTo>
                  <a:lnTo>
                    <a:pt x="61" y="244"/>
                  </a:lnTo>
                  <a:lnTo>
                    <a:pt x="74" y="242"/>
                  </a:lnTo>
                  <a:lnTo>
                    <a:pt x="180" y="232"/>
                  </a:lnTo>
                  <a:lnTo>
                    <a:pt x="179" y="230"/>
                  </a:lnTo>
                  <a:lnTo>
                    <a:pt x="175" y="223"/>
                  </a:lnTo>
                  <a:lnTo>
                    <a:pt x="171" y="220"/>
                  </a:lnTo>
                  <a:lnTo>
                    <a:pt x="169" y="214"/>
                  </a:lnTo>
                  <a:lnTo>
                    <a:pt x="170" y="212"/>
                  </a:lnTo>
                  <a:lnTo>
                    <a:pt x="173" y="210"/>
                  </a:lnTo>
                  <a:lnTo>
                    <a:pt x="172" y="203"/>
                  </a:lnTo>
                  <a:lnTo>
                    <a:pt x="169" y="198"/>
                  </a:lnTo>
                  <a:lnTo>
                    <a:pt x="167" y="187"/>
                  </a:lnTo>
                  <a:lnTo>
                    <a:pt x="167" y="179"/>
                  </a:lnTo>
                  <a:lnTo>
                    <a:pt x="170" y="177"/>
                  </a:lnTo>
                  <a:lnTo>
                    <a:pt x="171" y="171"/>
                  </a:lnTo>
                  <a:lnTo>
                    <a:pt x="167" y="167"/>
                  </a:lnTo>
                  <a:lnTo>
                    <a:pt x="173" y="163"/>
                  </a:lnTo>
                  <a:lnTo>
                    <a:pt x="175" y="158"/>
                  </a:lnTo>
                  <a:lnTo>
                    <a:pt x="172" y="155"/>
                  </a:lnTo>
                  <a:lnTo>
                    <a:pt x="171" y="149"/>
                  </a:lnTo>
                  <a:lnTo>
                    <a:pt x="170" y="144"/>
                  </a:lnTo>
                  <a:lnTo>
                    <a:pt x="164" y="137"/>
                  </a:lnTo>
                  <a:lnTo>
                    <a:pt x="155" y="119"/>
                  </a:lnTo>
                  <a:lnTo>
                    <a:pt x="152" y="108"/>
                  </a:lnTo>
                  <a:lnTo>
                    <a:pt x="138" y="60"/>
                  </a:lnTo>
                  <a:lnTo>
                    <a:pt x="128" y="18"/>
                  </a:lnTo>
                  <a:lnTo>
                    <a:pt x="124" y="1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2" y="11"/>
                  </a:lnTo>
                  <a:lnTo>
                    <a:pt x="2" y="21"/>
                  </a:lnTo>
                  <a:lnTo>
                    <a:pt x="0" y="153"/>
                  </a:lnTo>
                  <a:lnTo>
                    <a:pt x="1" y="222"/>
                  </a:lnTo>
                  <a:lnTo>
                    <a:pt x="9" y="281"/>
                  </a:lnTo>
                  <a:lnTo>
                    <a:pt x="12" y="281"/>
                  </a:lnTo>
                  <a:lnTo>
                    <a:pt x="16" y="283"/>
                  </a:lnTo>
                  <a:lnTo>
                    <a:pt x="22" y="283"/>
                  </a:lnTo>
                  <a:lnTo>
                    <a:pt x="23" y="280"/>
                  </a:lnTo>
                  <a:lnTo>
                    <a:pt x="22" y="274"/>
                  </a:lnTo>
                  <a:lnTo>
                    <a:pt x="23" y="268"/>
                  </a:lnTo>
                  <a:lnTo>
                    <a:pt x="26" y="266"/>
                  </a:lnTo>
                  <a:lnTo>
                    <a:pt x="30" y="265"/>
                  </a:lnTo>
                  <a:lnTo>
                    <a:pt x="32" y="267"/>
                  </a:lnTo>
                  <a:lnTo>
                    <a:pt x="32" y="271"/>
                  </a:lnTo>
                  <a:lnTo>
                    <a:pt x="30" y="274"/>
                  </a:lnTo>
                  <a:lnTo>
                    <a:pt x="32" y="277"/>
                  </a:lnTo>
                  <a:lnTo>
                    <a:pt x="33" y="278"/>
                  </a:lnTo>
                  <a:lnTo>
                    <a:pt x="36" y="280"/>
                  </a:lnTo>
                  <a:lnTo>
                    <a:pt x="39" y="283"/>
                  </a:lnTo>
                  <a:lnTo>
                    <a:pt x="39" y="286"/>
                  </a:lnTo>
                  <a:lnTo>
                    <a:pt x="38" y="287"/>
                  </a:lnTo>
                  <a:lnTo>
                    <a:pt x="36" y="289"/>
                  </a:lnTo>
                  <a:lnTo>
                    <a:pt x="38" y="289"/>
                  </a:lnTo>
                  <a:lnTo>
                    <a:pt x="45" y="287"/>
                  </a:lnTo>
                  <a:lnTo>
                    <a:pt x="51" y="285"/>
                  </a:lnTo>
                  <a:lnTo>
                    <a:pt x="54" y="283"/>
                  </a:lnTo>
                  <a:lnTo>
                    <a:pt x="57" y="282"/>
                  </a:lnTo>
                  <a:lnTo>
                    <a:pt x="61" y="281"/>
                  </a:lnTo>
                  <a:lnTo>
                    <a:pt x="63" y="280"/>
                  </a:lnTo>
                  <a:lnTo>
                    <a:pt x="63" y="280"/>
                  </a:lnTo>
                  <a:lnTo>
                    <a:pt x="58" y="269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1">
              <a:extLst>
                <a:ext uri="{FF2B5EF4-FFF2-40B4-BE49-F238E27FC236}">
                  <a16:creationId xmlns:a16="http://schemas.microsoft.com/office/drawing/2014/main" id="{C91A85D3-48F4-0C6A-2EA6-7CAD5E0F1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3636" y="8258034"/>
              <a:ext cx="678694" cy="1185670"/>
            </a:xfrm>
            <a:custGeom>
              <a:avLst/>
              <a:gdLst>
                <a:gd name="T0" fmla="*/ 157 w 166"/>
                <a:gd name="T1" fmla="*/ 142 h 290"/>
                <a:gd name="T2" fmla="*/ 159 w 166"/>
                <a:gd name="T3" fmla="*/ 0 h 290"/>
                <a:gd name="T4" fmla="*/ 58 w 166"/>
                <a:gd name="T5" fmla="*/ 7 h 290"/>
                <a:gd name="T6" fmla="*/ 55 w 166"/>
                <a:gd name="T7" fmla="*/ 14 h 290"/>
                <a:gd name="T8" fmla="*/ 49 w 166"/>
                <a:gd name="T9" fmla="*/ 21 h 290"/>
                <a:gd name="T10" fmla="*/ 45 w 166"/>
                <a:gd name="T11" fmla="*/ 24 h 290"/>
                <a:gd name="T12" fmla="*/ 43 w 166"/>
                <a:gd name="T13" fmla="*/ 38 h 290"/>
                <a:gd name="T14" fmla="*/ 32 w 166"/>
                <a:gd name="T15" fmla="*/ 52 h 290"/>
                <a:gd name="T16" fmla="*/ 26 w 166"/>
                <a:gd name="T17" fmla="*/ 63 h 290"/>
                <a:gd name="T18" fmla="*/ 25 w 166"/>
                <a:gd name="T19" fmla="*/ 68 h 290"/>
                <a:gd name="T20" fmla="*/ 24 w 166"/>
                <a:gd name="T21" fmla="*/ 78 h 290"/>
                <a:gd name="T22" fmla="*/ 18 w 166"/>
                <a:gd name="T23" fmla="*/ 82 h 290"/>
                <a:gd name="T24" fmla="*/ 17 w 166"/>
                <a:gd name="T25" fmla="*/ 89 h 290"/>
                <a:gd name="T26" fmla="*/ 15 w 166"/>
                <a:gd name="T27" fmla="*/ 94 h 290"/>
                <a:gd name="T28" fmla="*/ 20 w 166"/>
                <a:gd name="T29" fmla="*/ 100 h 290"/>
                <a:gd name="T30" fmla="*/ 19 w 166"/>
                <a:gd name="T31" fmla="*/ 112 h 290"/>
                <a:gd name="T32" fmla="*/ 20 w 166"/>
                <a:gd name="T33" fmla="*/ 120 h 290"/>
                <a:gd name="T34" fmla="*/ 16 w 166"/>
                <a:gd name="T35" fmla="*/ 127 h 290"/>
                <a:gd name="T36" fmla="*/ 21 w 166"/>
                <a:gd name="T37" fmla="*/ 134 h 290"/>
                <a:gd name="T38" fmla="*/ 16 w 166"/>
                <a:gd name="T39" fmla="*/ 140 h 290"/>
                <a:gd name="T40" fmla="*/ 21 w 166"/>
                <a:gd name="T41" fmla="*/ 145 h 290"/>
                <a:gd name="T42" fmla="*/ 22 w 166"/>
                <a:gd name="T43" fmla="*/ 154 h 290"/>
                <a:gd name="T44" fmla="*/ 27 w 166"/>
                <a:gd name="T45" fmla="*/ 160 h 290"/>
                <a:gd name="T46" fmla="*/ 27 w 166"/>
                <a:gd name="T47" fmla="*/ 175 h 290"/>
                <a:gd name="T48" fmla="*/ 20 w 166"/>
                <a:gd name="T49" fmla="*/ 179 h 290"/>
                <a:gd name="T50" fmla="*/ 20 w 166"/>
                <a:gd name="T51" fmla="*/ 188 h 290"/>
                <a:gd name="T52" fmla="*/ 11 w 166"/>
                <a:gd name="T53" fmla="*/ 199 h 290"/>
                <a:gd name="T54" fmla="*/ 9 w 166"/>
                <a:gd name="T55" fmla="*/ 212 h 290"/>
                <a:gd name="T56" fmla="*/ 5 w 166"/>
                <a:gd name="T57" fmla="*/ 218 h 290"/>
                <a:gd name="T58" fmla="*/ 5 w 166"/>
                <a:gd name="T59" fmla="*/ 228 h 290"/>
                <a:gd name="T60" fmla="*/ 0 w 166"/>
                <a:gd name="T61" fmla="*/ 234 h 290"/>
                <a:gd name="T62" fmla="*/ 2 w 166"/>
                <a:gd name="T63" fmla="*/ 244 h 290"/>
                <a:gd name="T64" fmla="*/ 92 w 166"/>
                <a:gd name="T65" fmla="*/ 263 h 290"/>
                <a:gd name="T66" fmla="*/ 100 w 166"/>
                <a:gd name="T67" fmla="*/ 274 h 290"/>
                <a:gd name="T68" fmla="*/ 102 w 166"/>
                <a:gd name="T69" fmla="*/ 289 h 290"/>
                <a:gd name="T70" fmla="*/ 104 w 166"/>
                <a:gd name="T71" fmla="*/ 290 h 290"/>
                <a:gd name="T72" fmla="*/ 112 w 166"/>
                <a:gd name="T73" fmla="*/ 284 h 290"/>
                <a:gd name="T74" fmla="*/ 117 w 166"/>
                <a:gd name="T75" fmla="*/ 277 h 290"/>
                <a:gd name="T76" fmla="*/ 127 w 166"/>
                <a:gd name="T77" fmla="*/ 276 h 290"/>
                <a:gd name="T78" fmla="*/ 140 w 166"/>
                <a:gd name="T79" fmla="*/ 272 h 290"/>
                <a:gd name="T80" fmla="*/ 150 w 166"/>
                <a:gd name="T81" fmla="*/ 272 h 290"/>
                <a:gd name="T82" fmla="*/ 156 w 166"/>
                <a:gd name="T83" fmla="*/ 272 h 290"/>
                <a:gd name="T84" fmla="*/ 163 w 166"/>
                <a:gd name="T85" fmla="*/ 272 h 290"/>
                <a:gd name="T86" fmla="*/ 166 w 166"/>
                <a:gd name="T87" fmla="*/ 270 h 290"/>
                <a:gd name="T88" fmla="*/ 158 w 166"/>
                <a:gd name="T89" fmla="*/ 21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6" h="290">
                  <a:moveTo>
                    <a:pt x="158" y="211"/>
                  </a:moveTo>
                  <a:lnTo>
                    <a:pt x="157" y="142"/>
                  </a:lnTo>
                  <a:lnTo>
                    <a:pt x="159" y="10"/>
                  </a:lnTo>
                  <a:lnTo>
                    <a:pt x="159" y="0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9" y="11"/>
                  </a:lnTo>
                  <a:lnTo>
                    <a:pt x="55" y="14"/>
                  </a:lnTo>
                  <a:lnTo>
                    <a:pt x="51" y="17"/>
                  </a:lnTo>
                  <a:lnTo>
                    <a:pt x="49" y="21"/>
                  </a:lnTo>
                  <a:lnTo>
                    <a:pt x="48" y="24"/>
                  </a:lnTo>
                  <a:lnTo>
                    <a:pt x="45" y="24"/>
                  </a:lnTo>
                  <a:lnTo>
                    <a:pt x="43" y="32"/>
                  </a:lnTo>
                  <a:lnTo>
                    <a:pt x="43" y="38"/>
                  </a:lnTo>
                  <a:lnTo>
                    <a:pt x="39" y="44"/>
                  </a:lnTo>
                  <a:lnTo>
                    <a:pt x="32" y="52"/>
                  </a:lnTo>
                  <a:lnTo>
                    <a:pt x="27" y="57"/>
                  </a:lnTo>
                  <a:lnTo>
                    <a:pt x="26" y="63"/>
                  </a:lnTo>
                  <a:lnTo>
                    <a:pt x="28" y="64"/>
                  </a:lnTo>
                  <a:lnTo>
                    <a:pt x="25" y="68"/>
                  </a:lnTo>
                  <a:lnTo>
                    <a:pt x="24" y="73"/>
                  </a:lnTo>
                  <a:lnTo>
                    <a:pt x="24" y="78"/>
                  </a:lnTo>
                  <a:lnTo>
                    <a:pt x="22" y="78"/>
                  </a:lnTo>
                  <a:lnTo>
                    <a:pt x="18" y="82"/>
                  </a:lnTo>
                  <a:lnTo>
                    <a:pt x="16" y="87"/>
                  </a:lnTo>
                  <a:lnTo>
                    <a:pt x="17" y="89"/>
                  </a:lnTo>
                  <a:lnTo>
                    <a:pt x="15" y="91"/>
                  </a:lnTo>
                  <a:lnTo>
                    <a:pt x="15" y="94"/>
                  </a:lnTo>
                  <a:lnTo>
                    <a:pt x="18" y="96"/>
                  </a:lnTo>
                  <a:lnTo>
                    <a:pt x="20" y="100"/>
                  </a:lnTo>
                  <a:lnTo>
                    <a:pt x="19" y="103"/>
                  </a:lnTo>
                  <a:lnTo>
                    <a:pt x="19" y="112"/>
                  </a:lnTo>
                  <a:lnTo>
                    <a:pt x="21" y="116"/>
                  </a:lnTo>
                  <a:lnTo>
                    <a:pt x="20" y="120"/>
                  </a:lnTo>
                  <a:lnTo>
                    <a:pt x="17" y="128"/>
                  </a:lnTo>
                  <a:lnTo>
                    <a:pt x="16" y="127"/>
                  </a:lnTo>
                  <a:lnTo>
                    <a:pt x="20" y="130"/>
                  </a:lnTo>
                  <a:lnTo>
                    <a:pt x="21" y="134"/>
                  </a:lnTo>
                  <a:lnTo>
                    <a:pt x="20" y="137"/>
                  </a:lnTo>
                  <a:lnTo>
                    <a:pt x="16" y="140"/>
                  </a:lnTo>
                  <a:lnTo>
                    <a:pt x="20" y="143"/>
                  </a:lnTo>
                  <a:lnTo>
                    <a:pt x="21" y="145"/>
                  </a:lnTo>
                  <a:lnTo>
                    <a:pt x="20" y="147"/>
                  </a:lnTo>
                  <a:lnTo>
                    <a:pt x="22" y="154"/>
                  </a:lnTo>
                  <a:lnTo>
                    <a:pt x="22" y="157"/>
                  </a:lnTo>
                  <a:lnTo>
                    <a:pt x="27" y="160"/>
                  </a:lnTo>
                  <a:lnTo>
                    <a:pt x="29" y="165"/>
                  </a:lnTo>
                  <a:lnTo>
                    <a:pt x="27" y="175"/>
                  </a:lnTo>
                  <a:lnTo>
                    <a:pt x="23" y="179"/>
                  </a:lnTo>
                  <a:lnTo>
                    <a:pt x="20" y="179"/>
                  </a:lnTo>
                  <a:lnTo>
                    <a:pt x="21" y="185"/>
                  </a:lnTo>
                  <a:lnTo>
                    <a:pt x="20" y="188"/>
                  </a:lnTo>
                  <a:lnTo>
                    <a:pt x="14" y="197"/>
                  </a:lnTo>
                  <a:lnTo>
                    <a:pt x="11" y="199"/>
                  </a:lnTo>
                  <a:lnTo>
                    <a:pt x="10" y="210"/>
                  </a:lnTo>
                  <a:lnTo>
                    <a:pt x="9" y="212"/>
                  </a:lnTo>
                  <a:lnTo>
                    <a:pt x="6" y="215"/>
                  </a:lnTo>
                  <a:lnTo>
                    <a:pt x="5" y="218"/>
                  </a:lnTo>
                  <a:lnTo>
                    <a:pt x="5" y="221"/>
                  </a:lnTo>
                  <a:lnTo>
                    <a:pt x="5" y="228"/>
                  </a:lnTo>
                  <a:lnTo>
                    <a:pt x="2" y="232"/>
                  </a:lnTo>
                  <a:lnTo>
                    <a:pt x="0" y="234"/>
                  </a:lnTo>
                  <a:lnTo>
                    <a:pt x="0" y="239"/>
                  </a:lnTo>
                  <a:lnTo>
                    <a:pt x="2" y="244"/>
                  </a:lnTo>
                  <a:lnTo>
                    <a:pt x="94" y="241"/>
                  </a:lnTo>
                  <a:lnTo>
                    <a:pt x="92" y="263"/>
                  </a:lnTo>
                  <a:lnTo>
                    <a:pt x="96" y="269"/>
                  </a:lnTo>
                  <a:lnTo>
                    <a:pt x="100" y="274"/>
                  </a:lnTo>
                  <a:lnTo>
                    <a:pt x="102" y="285"/>
                  </a:lnTo>
                  <a:lnTo>
                    <a:pt x="102" y="289"/>
                  </a:lnTo>
                  <a:lnTo>
                    <a:pt x="102" y="290"/>
                  </a:lnTo>
                  <a:lnTo>
                    <a:pt x="104" y="290"/>
                  </a:lnTo>
                  <a:lnTo>
                    <a:pt x="110" y="287"/>
                  </a:lnTo>
                  <a:lnTo>
                    <a:pt x="112" y="284"/>
                  </a:lnTo>
                  <a:lnTo>
                    <a:pt x="116" y="282"/>
                  </a:lnTo>
                  <a:lnTo>
                    <a:pt x="117" y="277"/>
                  </a:lnTo>
                  <a:lnTo>
                    <a:pt x="122" y="276"/>
                  </a:lnTo>
                  <a:lnTo>
                    <a:pt x="127" y="276"/>
                  </a:lnTo>
                  <a:lnTo>
                    <a:pt x="132" y="274"/>
                  </a:lnTo>
                  <a:lnTo>
                    <a:pt x="140" y="272"/>
                  </a:lnTo>
                  <a:lnTo>
                    <a:pt x="145" y="272"/>
                  </a:lnTo>
                  <a:lnTo>
                    <a:pt x="150" y="272"/>
                  </a:lnTo>
                  <a:lnTo>
                    <a:pt x="152" y="271"/>
                  </a:lnTo>
                  <a:lnTo>
                    <a:pt x="156" y="272"/>
                  </a:lnTo>
                  <a:lnTo>
                    <a:pt x="162" y="274"/>
                  </a:lnTo>
                  <a:lnTo>
                    <a:pt x="163" y="272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58" y="211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42">
              <a:extLst>
                <a:ext uri="{FF2B5EF4-FFF2-40B4-BE49-F238E27FC236}">
                  <a16:creationId xmlns:a16="http://schemas.microsoft.com/office/drawing/2014/main" id="{A4BDBBFA-E265-AD09-6FE2-C9D80D322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56018" y="6827054"/>
              <a:ext cx="842234" cy="605100"/>
            </a:xfrm>
            <a:custGeom>
              <a:avLst/>
              <a:gdLst>
                <a:gd name="T0" fmla="*/ 0 w 1176"/>
                <a:gd name="T1" fmla="*/ 168 h 850"/>
                <a:gd name="T2" fmla="*/ 18 w 1176"/>
                <a:gd name="T3" fmla="*/ 306 h 850"/>
                <a:gd name="T4" fmla="*/ 109 w 1176"/>
                <a:gd name="T5" fmla="*/ 232 h 850"/>
                <a:gd name="T6" fmla="*/ 189 w 1176"/>
                <a:gd name="T7" fmla="*/ 177 h 850"/>
                <a:gd name="T8" fmla="*/ 215 w 1176"/>
                <a:gd name="T9" fmla="*/ 188 h 850"/>
                <a:gd name="T10" fmla="*/ 283 w 1176"/>
                <a:gd name="T11" fmla="*/ 154 h 850"/>
                <a:gd name="T12" fmla="*/ 432 w 1176"/>
                <a:gd name="T13" fmla="*/ 154 h 850"/>
                <a:gd name="T14" fmla="*/ 486 w 1176"/>
                <a:gd name="T15" fmla="*/ 251 h 850"/>
                <a:gd name="T16" fmla="*/ 570 w 1176"/>
                <a:gd name="T17" fmla="*/ 298 h 850"/>
                <a:gd name="T18" fmla="*/ 643 w 1176"/>
                <a:gd name="T19" fmla="*/ 357 h 850"/>
                <a:gd name="T20" fmla="*/ 634 w 1176"/>
                <a:gd name="T21" fmla="*/ 418 h 850"/>
                <a:gd name="T22" fmla="*/ 612 w 1176"/>
                <a:gd name="T23" fmla="*/ 513 h 850"/>
                <a:gd name="T24" fmla="*/ 646 w 1176"/>
                <a:gd name="T25" fmla="*/ 522 h 850"/>
                <a:gd name="T26" fmla="*/ 700 w 1176"/>
                <a:gd name="T27" fmla="*/ 524 h 850"/>
                <a:gd name="T28" fmla="*/ 735 w 1176"/>
                <a:gd name="T29" fmla="*/ 518 h 850"/>
                <a:gd name="T30" fmla="*/ 846 w 1176"/>
                <a:gd name="T31" fmla="*/ 541 h 850"/>
                <a:gd name="T32" fmla="*/ 890 w 1176"/>
                <a:gd name="T33" fmla="*/ 548 h 850"/>
                <a:gd name="T34" fmla="*/ 859 w 1176"/>
                <a:gd name="T35" fmla="*/ 502 h 850"/>
                <a:gd name="T36" fmla="*/ 857 w 1176"/>
                <a:gd name="T37" fmla="*/ 471 h 850"/>
                <a:gd name="T38" fmla="*/ 804 w 1176"/>
                <a:gd name="T39" fmla="*/ 397 h 850"/>
                <a:gd name="T40" fmla="*/ 798 w 1176"/>
                <a:gd name="T41" fmla="*/ 298 h 850"/>
                <a:gd name="T42" fmla="*/ 784 w 1176"/>
                <a:gd name="T43" fmla="*/ 214 h 850"/>
                <a:gd name="T44" fmla="*/ 795 w 1176"/>
                <a:gd name="T45" fmla="*/ 196 h 850"/>
                <a:gd name="T46" fmla="*/ 854 w 1176"/>
                <a:gd name="T47" fmla="*/ 125 h 850"/>
                <a:gd name="T48" fmla="*/ 889 w 1176"/>
                <a:gd name="T49" fmla="*/ 89 h 850"/>
                <a:gd name="T50" fmla="*/ 861 w 1176"/>
                <a:gd name="T51" fmla="*/ 147 h 850"/>
                <a:gd name="T52" fmla="*/ 850 w 1176"/>
                <a:gd name="T53" fmla="*/ 214 h 850"/>
                <a:gd name="T54" fmla="*/ 845 w 1176"/>
                <a:gd name="T55" fmla="*/ 252 h 850"/>
                <a:gd name="T56" fmla="*/ 870 w 1176"/>
                <a:gd name="T57" fmla="*/ 287 h 850"/>
                <a:gd name="T58" fmla="*/ 903 w 1176"/>
                <a:gd name="T59" fmla="*/ 320 h 850"/>
                <a:gd name="T60" fmla="*/ 928 w 1176"/>
                <a:gd name="T61" fmla="*/ 358 h 850"/>
                <a:gd name="T62" fmla="*/ 901 w 1176"/>
                <a:gd name="T63" fmla="*/ 397 h 850"/>
                <a:gd name="T64" fmla="*/ 883 w 1176"/>
                <a:gd name="T65" fmla="*/ 422 h 850"/>
                <a:gd name="T66" fmla="*/ 894 w 1176"/>
                <a:gd name="T67" fmla="*/ 449 h 850"/>
                <a:gd name="T68" fmla="*/ 961 w 1176"/>
                <a:gd name="T69" fmla="*/ 461 h 850"/>
                <a:gd name="T70" fmla="*/ 1013 w 1176"/>
                <a:gd name="T71" fmla="*/ 524 h 850"/>
                <a:gd name="T72" fmla="*/ 1016 w 1176"/>
                <a:gd name="T73" fmla="*/ 565 h 850"/>
                <a:gd name="T74" fmla="*/ 1049 w 1176"/>
                <a:gd name="T75" fmla="*/ 620 h 850"/>
                <a:gd name="T76" fmla="*/ 1022 w 1176"/>
                <a:gd name="T77" fmla="*/ 723 h 850"/>
                <a:gd name="T78" fmla="*/ 1032 w 1176"/>
                <a:gd name="T79" fmla="*/ 835 h 850"/>
                <a:gd name="T80" fmla="*/ 1059 w 1176"/>
                <a:gd name="T81" fmla="*/ 803 h 850"/>
                <a:gd name="T82" fmla="*/ 1088 w 1176"/>
                <a:gd name="T83" fmla="*/ 711 h 850"/>
                <a:gd name="T84" fmla="*/ 1088 w 1176"/>
                <a:gd name="T85" fmla="*/ 673 h 850"/>
                <a:gd name="T86" fmla="*/ 1124 w 1176"/>
                <a:gd name="T87" fmla="*/ 632 h 850"/>
                <a:gd name="T88" fmla="*/ 1124 w 1176"/>
                <a:gd name="T89" fmla="*/ 548 h 850"/>
                <a:gd name="T90" fmla="*/ 1155 w 1176"/>
                <a:gd name="T91" fmla="*/ 493 h 850"/>
                <a:gd name="T92" fmla="*/ 1155 w 1176"/>
                <a:gd name="T93" fmla="*/ 537 h 850"/>
                <a:gd name="T94" fmla="*/ 1163 w 1176"/>
                <a:gd name="T95" fmla="*/ 568 h 850"/>
                <a:gd name="T96" fmla="*/ 1176 w 1176"/>
                <a:gd name="T97" fmla="*/ 469 h 850"/>
                <a:gd name="T98" fmla="*/ 1170 w 1176"/>
                <a:gd name="T99" fmla="*/ 376 h 850"/>
                <a:gd name="T100" fmla="*/ 928 w 1176"/>
                <a:gd name="T101" fmla="*/ 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76" h="850">
                  <a:moveTo>
                    <a:pt x="928" y="0"/>
                  </a:moveTo>
                  <a:cubicBezTo>
                    <a:pt x="0" y="168"/>
                    <a:pt x="0" y="168"/>
                    <a:pt x="0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18" y="306"/>
                    <a:pt x="18" y="306"/>
                    <a:pt x="18" y="306"/>
                  </a:cubicBezTo>
                  <a:cubicBezTo>
                    <a:pt x="47" y="306"/>
                    <a:pt x="47" y="306"/>
                    <a:pt x="47" y="306"/>
                  </a:cubicBezTo>
                  <a:cubicBezTo>
                    <a:pt x="109" y="232"/>
                    <a:pt x="109" y="232"/>
                    <a:pt x="109" y="232"/>
                  </a:cubicBezTo>
                  <a:cubicBezTo>
                    <a:pt x="150" y="227"/>
                    <a:pt x="150" y="227"/>
                    <a:pt x="150" y="227"/>
                  </a:cubicBezTo>
                  <a:cubicBezTo>
                    <a:pt x="189" y="177"/>
                    <a:pt x="189" y="177"/>
                    <a:pt x="189" y="177"/>
                  </a:cubicBezTo>
                  <a:cubicBezTo>
                    <a:pt x="206" y="177"/>
                    <a:pt x="206" y="177"/>
                    <a:pt x="206" y="177"/>
                  </a:cubicBezTo>
                  <a:cubicBezTo>
                    <a:pt x="215" y="188"/>
                    <a:pt x="215" y="188"/>
                    <a:pt x="215" y="188"/>
                  </a:cubicBezTo>
                  <a:cubicBezTo>
                    <a:pt x="258" y="155"/>
                    <a:pt x="258" y="155"/>
                    <a:pt x="258" y="155"/>
                  </a:cubicBezTo>
                  <a:cubicBezTo>
                    <a:pt x="283" y="154"/>
                    <a:pt x="283" y="154"/>
                    <a:pt x="283" y="154"/>
                  </a:cubicBezTo>
                  <a:cubicBezTo>
                    <a:pt x="338" y="128"/>
                    <a:pt x="338" y="128"/>
                    <a:pt x="338" y="128"/>
                  </a:cubicBezTo>
                  <a:cubicBezTo>
                    <a:pt x="432" y="154"/>
                    <a:pt x="432" y="154"/>
                    <a:pt x="432" y="154"/>
                  </a:cubicBezTo>
                  <a:cubicBezTo>
                    <a:pt x="465" y="196"/>
                    <a:pt x="465" y="196"/>
                    <a:pt x="465" y="196"/>
                  </a:cubicBezTo>
                  <a:cubicBezTo>
                    <a:pt x="486" y="251"/>
                    <a:pt x="486" y="251"/>
                    <a:pt x="486" y="251"/>
                  </a:cubicBezTo>
                  <a:cubicBezTo>
                    <a:pt x="487" y="250"/>
                    <a:pt x="487" y="250"/>
                    <a:pt x="487" y="250"/>
                  </a:cubicBezTo>
                  <a:cubicBezTo>
                    <a:pt x="570" y="298"/>
                    <a:pt x="570" y="298"/>
                    <a:pt x="570" y="298"/>
                  </a:cubicBezTo>
                  <a:cubicBezTo>
                    <a:pt x="608" y="333"/>
                    <a:pt x="608" y="333"/>
                    <a:pt x="608" y="333"/>
                  </a:cubicBezTo>
                  <a:cubicBezTo>
                    <a:pt x="643" y="357"/>
                    <a:pt x="643" y="357"/>
                    <a:pt x="643" y="357"/>
                  </a:cubicBezTo>
                  <a:cubicBezTo>
                    <a:pt x="652" y="386"/>
                    <a:pt x="652" y="386"/>
                    <a:pt x="652" y="386"/>
                  </a:cubicBezTo>
                  <a:cubicBezTo>
                    <a:pt x="634" y="418"/>
                    <a:pt x="634" y="418"/>
                    <a:pt x="634" y="418"/>
                  </a:cubicBezTo>
                  <a:cubicBezTo>
                    <a:pt x="607" y="424"/>
                    <a:pt x="607" y="424"/>
                    <a:pt x="607" y="424"/>
                  </a:cubicBezTo>
                  <a:cubicBezTo>
                    <a:pt x="612" y="513"/>
                    <a:pt x="612" y="513"/>
                    <a:pt x="612" y="513"/>
                  </a:cubicBezTo>
                  <a:cubicBezTo>
                    <a:pt x="629" y="525"/>
                    <a:pt x="629" y="525"/>
                    <a:pt x="629" y="525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72" y="516"/>
                    <a:pt x="672" y="516"/>
                    <a:pt x="672" y="516"/>
                  </a:cubicBezTo>
                  <a:cubicBezTo>
                    <a:pt x="700" y="524"/>
                    <a:pt x="700" y="524"/>
                    <a:pt x="700" y="524"/>
                  </a:cubicBezTo>
                  <a:cubicBezTo>
                    <a:pt x="704" y="527"/>
                    <a:pt x="704" y="527"/>
                    <a:pt x="704" y="527"/>
                  </a:cubicBezTo>
                  <a:cubicBezTo>
                    <a:pt x="735" y="518"/>
                    <a:pt x="735" y="518"/>
                    <a:pt x="735" y="518"/>
                  </a:cubicBezTo>
                  <a:cubicBezTo>
                    <a:pt x="824" y="529"/>
                    <a:pt x="824" y="529"/>
                    <a:pt x="824" y="529"/>
                  </a:cubicBezTo>
                  <a:cubicBezTo>
                    <a:pt x="846" y="541"/>
                    <a:pt x="846" y="541"/>
                    <a:pt x="846" y="541"/>
                  </a:cubicBezTo>
                  <a:cubicBezTo>
                    <a:pt x="868" y="554"/>
                    <a:pt x="868" y="554"/>
                    <a:pt x="868" y="554"/>
                  </a:cubicBezTo>
                  <a:cubicBezTo>
                    <a:pt x="890" y="548"/>
                    <a:pt x="890" y="548"/>
                    <a:pt x="890" y="548"/>
                  </a:cubicBezTo>
                  <a:cubicBezTo>
                    <a:pt x="878" y="521"/>
                    <a:pt x="878" y="521"/>
                    <a:pt x="878" y="521"/>
                  </a:cubicBezTo>
                  <a:cubicBezTo>
                    <a:pt x="859" y="502"/>
                    <a:pt x="859" y="502"/>
                    <a:pt x="859" y="502"/>
                  </a:cubicBezTo>
                  <a:cubicBezTo>
                    <a:pt x="857" y="480"/>
                    <a:pt x="857" y="480"/>
                    <a:pt x="857" y="480"/>
                  </a:cubicBezTo>
                  <a:cubicBezTo>
                    <a:pt x="857" y="471"/>
                    <a:pt x="857" y="471"/>
                    <a:pt x="857" y="471"/>
                  </a:cubicBezTo>
                  <a:cubicBezTo>
                    <a:pt x="813" y="417"/>
                    <a:pt x="813" y="417"/>
                    <a:pt x="813" y="417"/>
                  </a:cubicBezTo>
                  <a:cubicBezTo>
                    <a:pt x="804" y="397"/>
                    <a:pt x="804" y="397"/>
                    <a:pt x="804" y="397"/>
                  </a:cubicBezTo>
                  <a:cubicBezTo>
                    <a:pt x="804" y="348"/>
                    <a:pt x="804" y="348"/>
                    <a:pt x="804" y="348"/>
                  </a:cubicBezTo>
                  <a:cubicBezTo>
                    <a:pt x="798" y="298"/>
                    <a:pt x="798" y="298"/>
                    <a:pt x="798" y="298"/>
                  </a:cubicBezTo>
                  <a:cubicBezTo>
                    <a:pt x="802" y="248"/>
                    <a:pt x="802" y="248"/>
                    <a:pt x="802" y="248"/>
                  </a:cubicBezTo>
                  <a:cubicBezTo>
                    <a:pt x="784" y="214"/>
                    <a:pt x="784" y="214"/>
                    <a:pt x="784" y="214"/>
                  </a:cubicBezTo>
                  <a:cubicBezTo>
                    <a:pt x="766" y="196"/>
                    <a:pt x="766" y="196"/>
                    <a:pt x="766" y="196"/>
                  </a:cubicBezTo>
                  <a:cubicBezTo>
                    <a:pt x="795" y="196"/>
                    <a:pt x="795" y="196"/>
                    <a:pt x="795" y="196"/>
                  </a:cubicBezTo>
                  <a:cubicBezTo>
                    <a:pt x="815" y="155"/>
                    <a:pt x="815" y="155"/>
                    <a:pt x="815" y="155"/>
                  </a:cubicBezTo>
                  <a:cubicBezTo>
                    <a:pt x="854" y="125"/>
                    <a:pt x="854" y="125"/>
                    <a:pt x="854" y="125"/>
                  </a:cubicBezTo>
                  <a:cubicBezTo>
                    <a:pt x="875" y="86"/>
                    <a:pt x="875" y="86"/>
                    <a:pt x="875" y="86"/>
                  </a:cubicBezTo>
                  <a:cubicBezTo>
                    <a:pt x="889" y="89"/>
                    <a:pt x="889" y="89"/>
                    <a:pt x="889" y="89"/>
                  </a:cubicBezTo>
                  <a:cubicBezTo>
                    <a:pt x="884" y="136"/>
                    <a:pt x="884" y="136"/>
                    <a:pt x="884" y="136"/>
                  </a:cubicBezTo>
                  <a:cubicBezTo>
                    <a:pt x="861" y="147"/>
                    <a:pt x="861" y="147"/>
                    <a:pt x="861" y="147"/>
                  </a:cubicBezTo>
                  <a:cubicBezTo>
                    <a:pt x="850" y="188"/>
                    <a:pt x="850" y="188"/>
                    <a:pt x="850" y="188"/>
                  </a:cubicBezTo>
                  <a:cubicBezTo>
                    <a:pt x="850" y="214"/>
                    <a:pt x="850" y="214"/>
                    <a:pt x="850" y="214"/>
                  </a:cubicBezTo>
                  <a:cubicBezTo>
                    <a:pt x="881" y="214"/>
                    <a:pt x="881" y="214"/>
                    <a:pt x="881" y="214"/>
                  </a:cubicBezTo>
                  <a:cubicBezTo>
                    <a:pt x="845" y="252"/>
                    <a:pt x="845" y="252"/>
                    <a:pt x="845" y="252"/>
                  </a:cubicBezTo>
                  <a:cubicBezTo>
                    <a:pt x="831" y="273"/>
                    <a:pt x="831" y="273"/>
                    <a:pt x="831" y="273"/>
                  </a:cubicBezTo>
                  <a:cubicBezTo>
                    <a:pt x="870" y="287"/>
                    <a:pt x="870" y="287"/>
                    <a:pt x="870" y="287"/>
                  </a:cubicBezTo>
                  <a:cubicBezTo>
                    <a:pt x="883" y="290"/>
                    <a:pt x="883" y="290"/>
                    <a:pt x="883" y="290"/>
                  </a:cubicBezTo>
                  <a:cubicBezTo>
                    <a:pt x="903" y="320"/>
                    <a:pt x="903" y="320"/>
                    <a:pt x="903" y="320"/>
                  </a:cubicBezTo>
                  <a:cubicBezTo>
                    <a:pt x="898" y="329"/>
                    <a:pt x="898" y="329"/>
                    <a:pt x="898" y="329"/>
                  </a:cubicBezTo>
                  <a:cubicBezTo>
                    <a:pt x="928" y="358"/>
                    <a:pt x="928" y="358"/>
                    <a:pt x="928" y="358"/>
                  </a:cubicBezTo>
                  <a:cubicBezTo>
                    <a:pt x="928" y="370"/>
                    <a:pt x="928" y="370"/>
                    <a:pt x="928" y="370"/>
                  </a:cubicBezTo>
                  <a:cubicBezTo>
                    <a:pt x="901" y="397"/>
                    <a:pt x="901" y="397"/>
                    <a:pt x="901" y="397"/>
                  </a:cubicBezTo>
                  <a:cubicBezTo>
                    <a:pt x="878" y="397"/>
                    <a:pt x="878" y="397"/>
                    <a:pt x="878" y="397"/>
                  </a:cubicBezTo>
                  <a:cubicBezTo>
                    <a:pt x="883" y="422"/>
                    <a:pt x="883" y="422"/>
                    <a:pt x="883" y="422"/>
                  </a:cubicBezTo>
                  <a:cubicBezTo>
                    <a:pt x="876" y="436"/>
                    <a:pt x="876" y="436"/>
                    <a:pt x="876" y="436"/>
                  </a:cubicBezTo>
                  <a:cubicBezTo>
                    <a:pt x="894" y="449"/>
                    <a:pt x="894" y="449"/>
                    <a:pt x="894" y="449"/>
                  </a:cubicBezTo>
                  <a:cubicBezTo>
                    <a:pt x="920" y="461"/>
                    <a:pt x="920" y="461"/>
                    <a:pt x="920" y="461"/>
                  </a:cubicBezTo>
                  <a:cubicBezTo>
                    <a:pt x="961" y="461"/>
                    <a:pt x="961" y="461"/>
                    <a:pt x="961" y="461"/>
                  </a:cubicBezTo>
                  <a:cubicBezTo>
                    <a:pt x="992" y="480"/>
                    <a:pt x="992" y="480"/>
                    <a:pt x="992" y="480"/>
                  </a:cubicBezTo>
                  <a:cubicBezTo>
                    <a:pt x="1013" y="524"/>
                    <a:pt x="1013" y="524"/>
                    <a:pt x="1013" y="524"/>
                  </a:cubicBezTo>
                  <a:cubicBezTo>
                    <a:pt x="1025" y="552"/>
                    <a:pt x="1025" y="552"/>
                    <a:pt x="1025" y="552"/>
                  </a:cubicBezTo>
                  <a:cubicBezTo>
                    <a:pt x="1016" y="565"/>
                    <a:pt x="1016" y="565"/>
                    <a:pt x="1016" y="565"/>
                  </a:cubicBezTo>
                  <a:cubicBezTo>
                    <a:pt x="1039" y="582"/>
                    <a:pt x="1039" y="582"/>
                    <a:pt x="1039" y="582"/>
                  </a:cubicBezTo>
                  <a:cubicBezTo>
                    <a:pt x="1049" y="620"/>
                    <a:pt x="1049" y="620"/>
                    <a:pt x="1049" y="620"/>
                  </a:cubicBezTo>
                  <a:cubicBezTo>
                    <a:pt x="1033" y="678"/>
                    <a:pt x="1033" y="678"/>
                    <a:pt x="1033" y="678"/>
                  </a:cubicBezTo>
                  <a:cubicBezTo>
                    <a:pt x="1022" y="723"/>
                    <a:pt x="1022" y="723"/>
                    <a:pt x="1022" y="723"/>
                  </a:cubicBezTo>
                  <a:cubicBezTo>
                    <a:pt x="1021" y="788"/>
                    <a:pt x="1021" y="788"/>
                    <a:pt x="1021" y="788"/>
                  </a:cubicBezTo>
                  <a:cubicBezTo>
                    <a:pt x="1032" y="835"/>
                    <a:pt x="1032" y="835"/>
                    <a:pt x="1032" y="835"/>
                  </a:cubicBezTo>
                  <a:cubicBezTo>
                    <a:pt x="1047" y="850"/>
                    <a:pt x="1047" y="850"/>
                    <a:pt x="1047" y="850"/>
                  </a:cubicBezTo>
                  <a:cubicBezTo>
                    <a:pt x="1059" y="803"/>
                    <a:pt x="1059" y="803"/>
                    <a:pt x="1059" y="803"/>
                  </a:cubicBezTo>
                  <a:cubicBezTo>
                    <a:pt x="1066" y="731"/>
                    <a:pt x="1066" y="731"/>
                    <a:pt x="1066" y="731"/>
                  </a:cubicBezTo>
                  <a:cubicBezTo>
                    <a:pt x="1088" y="711"/>
                    <a:pt x="1088" y="711"/>
                    <a:pt x="1088" y="711"/>
                  </a:cubicBezTo>
                  <a:cubicBezTo>
                    <a:pt x="1088" y="684"/>
                    <a:pt x="1088" y="684"/>
                    <a:pt x="1088" y="684"/>
                  </a:cubicBezTo>
                  <a:cubicBezTo>
                    <a:pt x="1088" y="673"/>
                    <a:pt x="1088" y="673"/>
                    <a:pt x="1088" y="673"/>
                  </a:cubicBezTo>
                  <a:cubicBezTo>
                    <a:pt x="1109" y="659"/>
                    <a:pt x="1109" y="659"/>
                    <a:pt x="1109" y="659"/>
                  </a:cubicBezTo>
                  <a:cubicBezTo>
                    <a:pt x="1124" y="632"/>
                    <a:pt x="1124" y="632"/>
                    <a:pt x="1124" y="632"/>
                  </a:cubicBezTo>
                  <a:cubicBezTo>
                    <a:pt x="1124" y="573"/>
                    <a:pt x="1124" y="573"/>
                    <a:pt x="1124" y="573"/>
                  </a:cubicBezTo>
                  <a:cubicBezTo>
                    <a:pt x="1124" y="548"/>
                    <a:pt x="1124" y="548"/>
                    <a:pt x="1124" y="548"/>
                  </a:cubicBezTo>
                  <a:cubicBezTo>
                    <a:pt x="1124" y="518"/>
                    <a:pt x="1124" y="518"/>
                    <a:pt x="1124" y="518"/>
                  </a:cubicBezTo>
                  <a:cubicBezTo>
                    <a:pt x="1155" y="493"/>
                    <a:pt x="1155" y="493"/>
                    <a:pt x="1155" y="493"/>
                  </a:cubicBezTo>
                  <a:cubicBezTo>
                    <a:pt x="1163" y="511"/>
                    <a:pt x="1163" y="511"/>
                    <a:pt x="1163" y="511"/>
                  </a:cubicBezTo>
                  <a:cubicBezTo>
                    <a:pt x="1155" y="537"/>
                    <a:pt x="1155" y="537"/>
                    <a:pt x="1155" y="537"/>
                  </a:cubicBezTo>
                  <a:cubicBezTo>
                    <a:pt x="1155" y="537"/>
                    <a:pt x="1142" y="552"/>
                    <a:pt x="1143" y="557"/>
                  </a:cubicBezTo>
                  <a:cubicBezTo>
                    <a:pt x="1145" y="562"/>
                    <a:pt x="1163" y="568"/>
                    <a:pt x="1163" y="568"/>
                  </a:cubicBezTo>
                  <a:cubicBezTo>
                    <a:pt x="1176" y="535"/>
                    <a:pt x="1176" y="535"/>
                    <a:pt x="1176" y="535"/>
                  </a:cubicBezTo>
                  <a:cubicBezTo>
                    <a:pt x="1176" y="469"/>
                    <a:pt x="1176" y="469"/>
                    <a:pt x="1176" y="469"/>
                  </a:cubicBezTo>
                  <a:cubicBezTo>
                    <a:pt x="1170" y="376"/>
                    <a:pt x="1170" y="376"/>
                    <a:pt x="1170" y="376"/>
                  </a:cubicBezTo>
                  <a:cubicBezTo>
                    <a:pt x="1170" y="376"/>
                    <a:pt x="1170" y="376"/>
                    <a:pt x="1170" y="376"/>
                  </a:cubicBezTo>
                  <a:cubicBezTo>
                    <a:pt x="1024" y="397"/>
                    <a:pt x="1024" y="397"/>
                    <a:pt x="1024" y="397"/>
                  </a:cubicBezTo>
                  <a:lnTo>
                    <a:pt x="928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43">
              <a:extLst>
                <a:ext uri="{FF2B5EF4-FFF2-40B4-BE49-F238E27FC236}">
                  <a16:creationId xmlns:a16="http://schemas.microsoft.com/office/drawing/2014/main" id="{6FED60EF-E890-3C3B-D0E3-A4951DBF0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0865" y="6749370"/>
              <a:ext cx="862678" cy="862676"/>
            </a:xfrm>
            <a:custGeom>
              <a:avLst/>
              <a:gdLst>
                <a:gd name="T0" fmla="*/ 33 w 211"/>
                <a:gd name="T1" fmla="*/ 196 h 211"/>
                <a:gd name="T2" fmla="*/ 45 w 211"/>
                <a:gd name="T3" fmla="*/ 206 h 211"/>
                <a:gd name="T4" fmla="*/ 54 w 211"/>
                <a:gd name="T5" fmla="*/ 211 h 211"/>
                <a:gd name="T6" fmla="*/ 69 w 211"/>
                <a:gd name="T7" fmla="*/ 204 h 211"/>
                <a:gd name="T8" fmla="*/ 92 w 211"/>
                <a:gd name="T9" fmla="*/ 194 h 211"/>
                <a:gd name="T10" fmla="*/ 112 w 211"/>
                <a:gd name="T11" fmla="*/ 179 h 211"/>
                <a:gd name="T12" fmla="*/ 112 w 211"/>
                <a:gd name="T13" fmla="*/ 162 h 211"/>
                <a:gd name="T14" fmla="*/ 124 w 211"/>
                <a:gd name="T15" fmla="*/ 142 h 211"/>
                <a:gd name="T16" fmla="*/ 130 w 211"/>
                <a:gd name="T17" fmla="*/ 115 h 211"/>
                <a:gd name="T18" fmla="*/ 143 w 211"/>
                <a:gd name="T19" fmla="*/ 122 h 211"/>
                <a:gd name="T20" fmla="*/ 148 w 211"/>
                <a:gd name="T21" fmla="*/ 119 h 211"/>
                <a:gd name="T22" fmla="*/ 154 w 211"/>
                <a:gd name="T23" fmla="*/ 102 h 211"/>
                <a:gd name="T24" fmla="*/ 158 w 211"/>
                <a:gd name="T25" fmla="*/ 96 h 211"/>
                <a:gd name="T26" fmla="*/ 163 w 211"/>
                <a:gd name="T27" fmla="*/ 99 h 211"/>
                <a:gd name="T28" fmla="*/ 174 w 211"/>
                <a:gd name="T29" fmla="*/ 83 h 211"/>
                <a:gd name="T30" fmla="*/ 180 w 211"/>
                <a:gd name="T31" fmla="*/ 68 h 211"/>
                <a:gd name="T32" fmla="*/ 194 w 211"/>
                <a:gd name="T33" fmla="*/ 64 h 211"/>
                <a:gd name="T34" fmla="*/ 205 w 211"/>
                <a:gd name="T35" fmla="*/ 68 h 211"/>
                <a:gd name="T36" fmla="*/ 211 w 211"/>
                <a:gd name="T37" fmla="*/ 62 h 211"/>
                <a:gd name="T38" fmla="*/ 207 w 211"/>
                <a:gd name="T39" fmla="*/ 53 h 211"/>
                <a:gd name="T40" fmla="*/ 185 w 211"/>
                <a:gd name="T41" fmla="*/ 41 h 211"/>
                <a:gd name="T42" fmla="*/ 171 w 211"/>
                <a:gd name="T43" fmla="*/ 46 h 211"/>
                <a:gd name="T44" fmla="*/ 162 w 211"/>
                <a:gd name="T45" fmla="*/ 49 h 211"/>
                <a:gd name="T46" fmla="*/ 152 w 211"/>
                <a:gd name="T47" fmla="*/ 58 h 211"/>
                <a:gd name="T48" fmla="*/ 134 w 211"/>
                <a:gd name="T49" fmla="*/ 72 h 211"/>
                <a:gd name="T50" fmla="*/ 126 w 211"/>
                <a:gd name="T51" fmla="*/ 48 h 211"/>
                <a:gd name="T52" fmla="*/ 72 w 211"/>
                <a:gd name="T53" fmla="*/ 0 h 211"/>
                <a:gd name="T54" fmla="*/ 66 w 211"/>
                <a:gd name="T55" fmla="*/ 5 h 211"/>
                <a:gd name="T56" fmla="*/ 69 w 211"/>
                <a:gd name="T57" fmla="*/ 12 h 211"/>
                <a:gd name="T58" fmla="*/ 69 w 211"/>
                <a:gd name="T59" fmla="*/ 29 h 211"/>
                <a:gd name="T60" fmla="*/ 66 w 211"/>
                <a:gd name="T61" fmla="*/ 42 h 211"/>
                <a:gd name="T62" fmla="*/ 65 w 211"/>
                <a:gd name="T63" fmla="*/ 58 h 211"/>
                <a:gd name="T64" fmla="*/ 52 w 211"/>
                <a:gd name="T65" fmla="*/ 74 h 211"/>
                <a:gd name="T66" fmla="*/ 40 w 211"/>
                <a:gd name="T67" fmla="*/ 80 h 211"/>
                <a:gd name="T68" fmla="*/ 30 w 211"/>
                <a:gd name="T69" fmla="*/ 94 h 211"/>
                <a:gd name="T70" fmla="*/ 26 w 211"/>
                <a:gd name="T71" fmla="*/ 109 h 211"/>
                <a:gd name="T72" fmla="*/ 16 w 211"/>
                <a:gd name="T73" fmla="*/ 109 h 211"/>
                <a:gd name="T74" fmla="*/ 13 w 211"/>
                <a:gd name="T75" fmla="*/ 131 h 211"/>
                <a:gd name="T76" fmla="*/ 4 w 211"/>
                <a:gd name="T77" fmla="*/ 142 h 211"/>
                <a:gd name="T78" fmla="*/ 3 w 211"/>
                <a:gd name="T79" fmla="*/ 164 h 211"/>
                <a:gd name="T80" fmla="*/ 14 w 211"/>
                <a:gd name="T81" fmla="*/ 182 h 211"/>
                <a:gd name="T82" fmla="*/ 28 w 211"/>
                <a:gd name="T83" fmla="*/ 198 h 211"/>
                <a:gd name="T84" fmla="*/ 30 w 211"/>
                <a:gd name="T85" fmla="*/ 19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1" h="211">
                  <a:moveTo>
                    <a:pt x="30" y="196"/>
                  </a:moveTo>
                  <a:lnTo>
                    <a:pt x="33" y="196"/>
                  </a:lnTo>
                  <a:lnTo>
                    <a:pt x="35" y="200"/>
                  </a:lnTo>
                  <a:lnTo>
                    <a:pt x="45" y="206"/>
                  </a:lnTo>
                  <a:lnTo>
                    <a:pt x="51" y="211"/>
                  </a:lnTo>
                  <a:lnTo>
                    <a:pt x="54" y="211"/>
                  </a:lnTo>
                  <a:lnTo>
                    <a:pt x="63" y="201"/>
                  </a:lnTo>
                  <a:lnTo>
                    <a:pt x="69" y="204"/>
                  </a:lnTo>
                  <a:lnTo>
                    <a:pt x="80" y="201"/>
                  </a:lnTo>
                  <a:lnTo>
                    <a:pt x="92" y="194"/>
                  </a:lnTo>
                  <a:lnTo>
                    <a:pt x="107" y="183"/>
                  </a:lnTo>
                  <a:lnTo>
                    <a:pt x="112" y="179"/>
                  </a:lnTo>
                  <a:lnTo>
                    <a:pt x="111" y="169"/>
                  </a:lnTo>
                  <a:lnTo>
                    <a:pt x="112" y="162"/>
                  </a:lnTo>
                  <a:lnTo>
                    <a:pt x="119" y="154"/>
                  </a:lnTo>
                  <a:lnTo>
                    <a:pt x="124" y="142"/>
                  </a:lnTo>
                  <a:lnTo>
                    <a:pt x="128" y="125"/>
                  </a:lnTo>
                  <a:lnTo>
                    <a:pt x="130" y="115"/>
                  </a:lnTo>
                  <a:lnTo>
                    <a:pt x="136" y="119"/>
                  </a:lnTo>
                  <a:lnTo>
                    <a:pt x="143" y="122"/>
                  </a:lnTo>
                  <a:lnTo>
                    <a:pt x="146" y="122"/>
                  </a:lnTo>
                  <a:lnTo>
                    <a:pt x="148" y="119"/>
                  </a:lnTo>
                  <a:lnTo>
                    <a:pt x="151" y="108"/>
                  </a:lnTo>
                  <a:lnTo>
                    <a:pt x="154" y="102"/>
                  </a:lnTo>
                  <a:lnTo>
                    <a:pt x="156" y="96"/>
                  </a:lnTo>
                  <a:lnTo>
                    <a:pt x="158" y="96"/>
                  </a:lnTo>
                  <a:lnTo>
                    <a:pt x="161" y="98"/>
                  </a:lnTo>
                  <a:lnTo>
                    <a:pt x="163" y="99"/>
                  </a:lnTo>
                  <a:lnTo>
                    <a:pt x="170" y="87"/>
                  </a:lnTo>
                  <a:lnTo>
                    <a:pt x="174" y="83"/>
                  </a:lnTo>
                  <a:lnTo>
                    <a:pt x="177" y="78"/>
                  </a:lnTo>
                  <a:lnTo>
                    <a:pt x="180" y="68"/>
                  </a:lnTo>
                  <a:lnTo>
                    <a:pt x="181" y="56"/>
                  </a:lnTo>
                  <a:lnTo>
                    <a:pt x="194" y="64"/>
                  </a:lnTo>
                  <a:lnTo>
                    <a:pt x="200" y="68"/>
                  </a:lnTo>
                  <a:lnTo>
                    <a:pt x="205" y="68"/>
                  </a:lnTo>
                  <a:lnTo>
                    <a:pt x="208" y="63"/>
                  </a:lnTo>
                  <a:lnTo>
                    <a:pt x="211" y="62"/>
                  </a:lnTo>
                  <a:lnTo>
                    <a:pt x="211" y="62"/>
                  </a:lnTo>
                  <a:lnTo>
                    <a:pt x="207" y="53"/>
                  </a:lnTo>
                  <a:lnTo>
                    <a:pt x="202" y="45"/>
                  </a:lnTo>
                  <a:lnTo>
                    <a:pt x="185" y="41"/>
                  </a:lnTo>
                  <a:lnTo>
                    <a:pt x="176" y="45"/>
                  </a:lnTo>
                  <a:lnTo>
                    <a:pt x="171" y="46"/>
                  </a:lnTo>
                  <a:lnTo>
                    <a:pt x="164" y="51"/>
                  </a:lnTo>
                  <a:lnTo>
                    <a:pt x="162" y="49"/>
                  </a:lnTo>
                  <a:lnTo>
                    <a:pt x="159" y="49"/>
                  </a:lnTo>
                  <a:lnTo>
                    <a:pt x="152" y="58"/>
                  </a:lnTo>
                  <a:lnTo>
                    <a:pt x="145" y="59"/>
                  </a:lnTo>
                  <a:lnTo>
                    <a:pt x="134" y="72"/>
                  </a:lnTo>
                  <a:lnTo>
                    <a:pt x="129" y="72"/>
                  </a:lnTo>
                  <a:lnTo>
                    <a:pt x="126" y="48"/>
                  </a:lnTo>
                  <a:lnTo>
                    <a:pt x="81" y="56"/>
                  </a:lnTo>
                  <a:lnTo>
                    <a:pt x="72" y="0"/>
                  </a:lnTo>
                  <a:lnTo>
                    <a:pt x="69" y="2"/>
                  </a:lnTo>
                  <a:lnTo>
                    <a:pt x="66" y="5"/>
                  </a:lnTo>
                  <a:lnTo>
                    <a:pt x="69" y="9"/>
                  </a:lnTo>
                  <a:lnTo>
                    <a:pt x="69" y="12"/>
                  </a:lnTo>
                  <a:lnTo>
                    <a:pt x="69" y="23"/>
                  </a:lnTo>
                  <a:lnTo>
                    <a:pt x="69" y="29"/>
                  </a:lnTo>
                  <a:lnTo>
                    <a:pt x="66" y="34"/>
                  </a:lnTo>
                  <a:lnTo>
                    <a:pt x="66" y="42"/>
                  </a:lnTo>
                  <a:lnTo>
                    <a:pt x="65" y="52"/>
                  </a:lnTo>
                  <a:lnTo>
                    <a:pt x="65" y="58"/>
                  </a:lnTo>
                  <a:lnTo>
                    <a:pt x="62" y="64"/>
                  </a:lnTo>
                  <a:lnTo>
                    <a:pt x="52" y="74"/>
                  </a:lnTo>
                  <a:lnTo>
                    <a:pt x="47" y="80"/>
                  </a:lnTo>
                  <a:lnTo>
                    <a:pt x="40" y="80"/>
                  </a:lnTo>
                  <a:lnTo>
                    <a:pt x="33" y="89"/>
                  </a:lnTo>
                  <a:lnTo>
                    <a:pt x="30" y="94"/>
                  </a:lnTo>
                  <a:lnTo>
                    <a:pt x="28" y="108"/>
                  </a:lnTo>
                  <a:lnTo>
                    <a:pt x="26" y="109"/>
                  </a:lnTo>
                  <a:lnTo>
                    <a:pt x="22" y="106"/>
                  </a:lnTo>
                  <a:lnTo>
                    <a:pt x="16" y="109"/>
                  </a:lnTo>
                  <a:lnTo>
                    <a:pt x="13" y="125"/>
                  </a:lnTo>
                  <a:lnTo>
                    <a:pt x="13" y="131"/>
                  </a:lnTo>
                  <a:lnTo>
                    <a:pt x="10" y="135"/>
                  </a:lnTo>
                  <a:lnTo>
                    <a:pt x="4" y="142"/>
                  </a:lnTo>
                  <a:lnTo>
                    <a:pt x="0" y="146"/>
                  </a:lnTo>
                  <a:lnTo>
                    <a:pt x="3" y="164"/>
                  </a:lnTo>
                  <a:lnTo>
                    <a:pt x="7" y="173"/>
                  </a:lnTo>
                  <a:lnTo>
                    <a:pt x="14" y="182"/>
                  </a:lnTo>
                  <a:lnTo>
                    <a:pt x="21" y="190"/>
                  </a:lnTo>
                  <a:lnTo>
                    <a:pt x="28" y="198"/>
                  </a:lnTo>
                  <a:lnTo>
                    <a:pt x="28" y="198"/>
                  </a:lnTo>
                  <a:lnTo>
                    <a:pt x="30" y="19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44">
              <a:extLst>
                <a:ext uri="{FF2B5EF4-FFF2-40B4-BE49-F238E27FC236}">
                  <a16:creationId xmlns:a16="http://schemas.microsoft.com/office/drawing/2014/main" id="{F48EE1FB-0E6C-5DEC-40EC-F0727A4FF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69338" y="7207284"/>
              <a:ext cx="1386008" cy="715489"/>
            </a:xfrm>
            <a:custGeom>
              <a:avLst/>
              <a:gdLst>
                <a:gd name="T0" fmla="*/ 297 w 339"/>
                <a:gd name="T1" fmla="*/ 130 h 175"/>
                <a:gd name="T2" fmla="*/ 305 w 339"/>
                <a:gd name="T3" fmla="*/ 126 h 175"/>
                <a:gd name="T4" fmla="*/ 315 w 339"/>
                <a:gd name="T5" fmla="*/ 107 h 175"/>
                <a:gd name="T6" fmla="*/ 336 w 339"/>
                <a:gd name="T7" fmla="*/ 92 h 175"/>
                <a:gd name="T8" fmla="*/ 332 w 339"/>
                <a:gd name="T9" fmla="*/ 78 h 175"/>
                <a:gd name="T10" fmla="*/ 318 w 339"/>
                <a:gd name="T11" fmla="*/ 61 h 175"/>
                <a:gd name="T12" fmla="*/ 311 w 339"/>
                <a:gd name="T13" fmla="*/ 34 h 175"/>
                <a:gd name="T14" fmla="*/ 308 w 339"/>
                <a:gd name="T15" fmla="*/ 31 h 175"/>
                <a:gd name="T16" fmla="*/ 296 w 339"/>
                <a:gd name="T17" fmla="*/ 20 h 175"/>
                <a:gd name="T18" fmla="*/ 290 w 339"/>
                <a:gd name="T19" fmla="*/ 15 h 175"/>
                <a:gd name="T20" fmla="*/ 285 w 339"/>
                <a:gd name="T21" fmla="*/ 21 h 175"/>
                <a:gd name="T22" fmla="*/ 275 w 339"/>
                <a:gd name="T23" fmla="*/ 25 h 175"/>
                <a:gd name="T24" fmla="*/ 263 w 339"/>
                <a:gd name="T25" fmla="*/ 20 h 175"/>
                <a:gd name="T26" fmla="*/ 260 w 339"/>
                <a:gd name="T27" fmla="*/ 24 h 175"/>
                <a:gd name="T28" fmla="*/ 255 w 339"/>
                <a:gd name="T29" fmla="*/ 27 h 175"/>
                <a:gd name="T30" fmla="*/ 249 w 339"/>
                <a:gd name="T31" fmla="*/ 21 h 175"/>
                <a:gd name="T32" fmla="*/ 238 w 339"/>
                <a:gd name="T33" fmla="*/ 19 h 175"/>
                <a:gd name="T34" fmla="*/ 233 w 339"/>
                <a:gd name="T35" fmla="*/ 11 h 175"/>
                <a:gd name="T36" fmla="*/ 220 w 339"/>
                <a:gd name="T37" fmla="*/ 0 h 175"/>
                <a:gd name="T38" fmla="*/ 212 w 339"/>
                <a:gd name="T39" fmla="*/ 4 h 175"/>
                <a:gd name="T40" fmla="*/ 201 w 339"/>
                <a:gd name="T41" fmla="*/ 3 h 175"/>
                <a:gd name="T42" fmla="*/ 206 w 339"/>
                <a:gd name="T43" fmla="*/ 11 h 175"/>
                <a:gd name="T44" fmla="*/ 206 w 339"/>
                <a:gd name="T45" fmla="*/ 22 h 175"/>
                <a:gd name="T46" fmla="*/ 197 w 339"/>
                <a:gd name="T47" fmla="*/ 24 h 175"/>
                <a:gd name="T48" fmla="*/ 179 w 339"/>
                <a:gd name="T49" fmla="*/ 29 h 175"/>
                <a:gd name="T50" fmla="*/ 179 w 339"/>
                <a:gd name="T51" fmla="*/ 34 h 175"/>
                <a:gd name="T52" fmla="*/ 177 w 339"/>
                <a:gd name="T53" fmla="*/ 42 h 175"/>
                <a:gd name="T54" fmla="*/ 172 w 339"/>
                <a:gd name="T55" fmla="*/ 53 h 175"/>
                <a:gd name="T56" fmla="*/ 165 w 339"/>
                <a:gd name="T57" fmla="*/ 57 h 175"/>
                <a:gd name="T58" fmla="*/ 160 w 339"/>
                <a:gd name="T59" fmla="*/ 68 h 175"/>
                <a:gd name="T60" fmla="*/ 149 w 339"/>
                <a:gd name="T61" fmla="*/ 75 h 175"/>
                <a:gd name="T62" fmla="*/ 143 w 339"/>
                <a:gd name="T63" fmla="*/ 69 h 175"/>
                <a:gd name="T64" fmla="*/ 139 w 339"/>
                <a:gd name="T65" fmla="*/ 65 h 175"/>
                <a:gd name="T66" fmla="*/ 134 w 339"/>
                <a:gd name="T67" fmla="*/ 74 h 175"/>
                <a:gd name="T68" fmla="*/ 132 w 339"/>
                <a:gd name="T69" fmla="*/ 84 h 175"/>
                <a:gd name="T70" fmla="*/ 123 w 339"/>
                <a:gd name="T71" fmla="*/ 79 h 175"/>
                <a:gd name="T72" fmla="*/ 114 w 339"/>
                <a:gd name="T73" fmla="*/ 82 h 175"/>
                <a:gd name="T74" fmla="*/ 109 w 339"/>
                <a:gd name="T75" fmla="*/ 88 h 175"/>
                <a:gd name="T76" fmla="*/ 103 w 339"/>
                <a:gd name="T77" fmla="*/ 86 h 175"/>
                <a:gd name="T78" fmla="*/ 90 w 339"/>
                <a:gd name="T79" fmla="*/ 82 h 175"/>
                <a:gd name="T80" fmla="*/ 82 w 339"/>
                <a:gd name="T81" fmla="*/ 87 h 175"/>
                <a:gd name="T82" fmla="*/ 70 w 339"/>
                <a:gd name="T83" fmla="*/ 94 h 175"/>
                <a:gd name="T84" fmla="*/ 62 w 339"/>
                <a:gd name="T85" fmla="*/ 97 h 175"/>
                <a:gd name="T86" fmla="*/ 61 w 339"/>
                <a:gd name="T87" fmla="*/ 104 h 175"/>
                <a:gd name="T88" fmla="*/ 64 w 339"/>
                <a:gd name="T89" fmla="*/ 111 h 175"/>
                <a:gd name="T90" fmla="*/ 51 w 339"/>
                <a:gd name="T91" fmla="*/ 117 h 175"/>
                <a:gd name="T92" fmla="*/ 48 w 339"/>
                <a:gd name="T93" fmla="*/ 127 h 175"/>
                <a:gd name="T94" fmla="*/ 48 w 339"/>
                <a:gd name="T95" fmla="*/ 135 h 175"/>
                <a:gd name="T96" fmla="*/ 40 w 339"/>
                <a:gd name="T97" fmla="*/ 135 h 175"/>
                <a:gd name="T98" fmla="*/ 27 w 339"/>
                <a:gd name="T99" fmla="*/ 129 h 175"/>
                <a:gd name="T100" fmla="*/ 20 w 339"/>
                <a:gd name="T101" fmla="*/ 133 h 175"/>
                <a:gd name="T102" fmla="*/ 15 w 339"/>
                <a:gd name="T103" fmla="*/ 140 h 175"/>
                <a:gd name="T104" fmla="*/ 20 w 339"/>
                <a:gd name="T105" fmla="*/ 147 h 175"/>
                <a:gd name="T106" fmla="*/ 20 w 339"/>
                <a:gd name="T107" fmla="*/ 154 h 175"/>
                <a:gd name="T108" fmla="*/ 17 w 339"/>
                <a:gd name="T109" fmla="*/ 164 h 175"/>
                <a:gd name="T110" fmla="*/ 10 w 339"/>
                <a:gd name="T111" fmla="*/ 166 h 175"/>
                <a:gd name="T112" fmla="*/ 6 w 339"/>
                <a:gd name="T113" fmla="*/ 168 h 175"/>
                <a:gd name="T114" fmla="*/ 1 w 339"/>
                <a:gd name="T115" fmla="*/ 168 h 175"/>
                <a:gd name="T116" fmla="*/ 0 w 339"/>
                <a:gd name="T117" fmla="*/ 173 h 175"/>
                <a:gd name="T118" fmla="*/ 3 w 339"/>
                <a:gd name="T119" fmla="*/ 173 h 175"/>
                <a:gd name="T120" fmla="*/ 72 w 339"/>
                <a:gd name="T121" fmla="*/ 160 h 175"/>
                <a:gd name="T122" fmla="*/ 275 w 339"/>
                <a:gd name="T123" fmla="*/ 145 h 175"/>
                <a:gd name="T124" fmla="*/ 289 w 339"/>
                <a:gd name="T125" fmla="*/ 13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9" h="175">
                  <a:moveTo>
                    <a:pt x="289" y="136"/>
                  </a:moveTo>
                  <a:lnTo>
                    <a:pt x="297" y="130"/>
                  </a:lnTo>
                  <a:lnTo>
                    <a:pt x="301" y="127"/>
                  </a:lnTo>
                  <a:lnTo>
                    <a:pt x="305" y="126"/>
                  </a:lnTo>
                  <a:lnTo>
                    <a:pt x="311" y="114"/>
                  </a:lnTo>
                  <a:lnTo>
                    <a:pt x="315" y="107"/>
                  </a:lnTo>
                  <a:lnTo>
                    <a:pt x="330" y="101"/>
                  </a:lnTo>
                  <a:lnTo>
                    <a:pt x="336" y="92"/>
                  </a:lnTo>
                  <a:lnTo>
                    <a:pt x="339" y="86"/>
                  </a:lnTo>
                  <a:lnTo>
                    <a:pt x="332" y="78"/>
                  </a:lnTo>
                  <a:lnTo>
                    <a:pt x="325" y="70"/>
                  </a:lnTo>
                  <a:lnTo>
                    <a:pt x="318" y="61"/>
                  </a:lnTo>
                  <a:lnTo>
                    <a:pt x="314" y="52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08" y="31"/>
                  </a:lnTo>
                  <a:lnTo>
                    <a:pt x="302" y="27"/>
                  </a:lnTo>
                  <a:lnTo>
                    <a:pt x="296" y="20"/>
                  </a:lnTo>
                  <a:lnTo>
                    <a:pt x="292" y="15"/>
                  </a:lnTo>
                  <a:lnTo>
                    <a:pt x="290" y="15"/>
                  </a:lnTo>
                  <a:lnTo>
                    <a:pt x="287" y="18"/>
                  </a:lnTo>
                  <a:lnTo>
                    <a:pt x="285" y="21"/>
                  </a:lnTo>
                  <a:lnTo>
                    <a:pt x="283" y="23"/>
                  </a:lnTo>
                  <a:lnTo>
                    <a:pt x="275" y="25"/>
                  </a:lnTo>
                  <a:lnTo>
                    <a:pt x="268" y="22"/>
                  </a:lnTo>
                  <a:lnTo>
                    <a:pt x="263" y="20"/>
                  </a:lnTo>
                  <a:lnTo>
                    <a:pt x="262" y="20"/>
                  </a:lnTo>
                  <a:lnTo>
                    <a:pt x="260" y="24"/>
                  </a:lnTo>
                  <a:lnTo>
                    <a:pt x="258" y="25"/>
                  </a:lnTo>
                  <a:lnTo>
                    <a:pt x="255" y="27"/>
                  </a:lnTo>
                  <a:lnTo>
                    <a:pt x="253" y="23"/>
                  </a:lnTo>
                  <a:lnTo>
                    <a:pt x="249" y="21"/>
                  </a:lnTo>
                  <a:lnTo>
                    <a:pt x="245" y="20"/>
                  </a:lnTo>
                  <a:lnTo>
                    <a:pt x="238" y="19"/>
                  </a:lnTo>
                  <a:lnTo>
                    <a:pt x="235" y="16"/>
                  </a:lnTo>
                  <a:lnTo>
                    <a:pt x="233" y="11"/>
                  </a:lnTo>
                  <a:lnTo>
                    <a:pt x="227" y="6"/>
                  </a:lnTo>
                  <a:lnTo>
                    <a:pt x="220" y="0"/>
                  </a:lnTo>
                  <a:lnTo>
                    <a:pt x="219" y="2"/>
                  </a:lnTo>
                  <a:lnTo>
                    <a:pt x="212" y="4"/>
                  </a:lnTo>
                  <a:lnTo>
                    <a:pt x="205" y="2"/>
                  </a:lnTo>
                  <a:lnTo>
                    <a:pt x="201" y="3"/>
                  </a:lnTo>
                  <a:lnTo>
                    <a:pt x="203" y="8"/>
                  </a:lnTo>
                  <a:lnTo>
                    <a:pt x="206" y="11"/>
                  </a:lnTo>
                  <a:lnTo>
                    <a:pt x="204" y="14"/>
                  </a:lnTo>
                  <a:lnTo>
                    <a:pt x="206" y="22"/>
                  </a:lnTo>
                  <a:lnTo>
                    <a:pt x="203" y="24"/>
                  </a:lnTo>
                  <a:lnTo>
                    <a:pt x="197" y="24"/>
                  </a:lnTo>
                  <a:lnTo>
                    <a:pt x="193" y="28"/>
                  </a:lnTo>
                  <a:lnTo>
                    <a:pt x="179" y="29"/>
                  </a:lnTo>
                  <a:lnTo>
                    <a:pt x="179" y="31"/>
                  </a:lnTo>
                  <a:lnTo>
                    <a:pt x="179" y="34"/>
                  </a:lnTo>
                  <a:lnTo>
                    <a:pt x="177" y="36"/>
                  </a:lnTo>
                  <a:lnTo>
                    <a:pt x="177" y="42"/>
                  </a:lnTo>
                  <a:lnTo>
                    <a:pt x="175" y="47"/>
                  </a:lnTo>
                  <a:lnTo>
                    <a:pt x="172" y="53"/>
                  </a:lnTo>
                  <a:lnTo>
                    <a:pt x="169" y="56"/>
                  </a:lnTo>
                  <a:lnTo>
                    <a:pt x="165" y="57"/>
                  </a:lnTo>
                  <a:lnTo>
                    <a:pt x="161" y="64"/>
                  </a:lnTo>
                  <a:lnTo>
                    <a:pt x="160" y="68"/>
                  </a:lnTo>
                  <a:lnTo>
                    <a:pt x="158" y="73"/>
                  </a:lnTo>
                  <a:lnTo>
                    <a:pt x="149" y="75"/>
                  </a:lnTo>
                  <a:lnTo>
                    <a:pt x="147" y="74"/>
                  </a:lnTo>
                  <a:lnTo>
                    <a:pt x="143" y="69"/>
                  </a:lnTo>
                  <a:lnTo>
                    <a:pt x="141" y="65"/>
                  </a:lnTo>
                  <a:lnTo>
                    <a:pt x="139" y="65"/>
                  </a:lnTo>
                  <a:lnTo>
                    <a:pt x="137" y="69"/>
                  </a:lnTo>
                  <a:lnTo>
                    <a:pt x="134" y="74"/>
                  </a:lnTo>
                  <a:lnTo>
                    <a:pt x="133" y="79"/>
                  </a:lnTo>
                  <a:lnTo>
                    <a:pt x="132" y="84"/>
                  </a:lnTo>
                  <a:lnTo>
                    <a:pt x="126" y="83"/>
                  </a:lnTo>
                  <a:lnTo>
                    <a:pt x="123" y="79"/>
                  </a:lnTo>
                  <a:lnTo>
                    <a:pt x="118" y="79"/>
                  </a:lnTo>
                  <a:lnTo>
                    <a:pt x="114" y="82"/>
                  </a:lnTo>
                  <a:lnTo>
                    <a:pt x="109" y="82"/>
                  </a:lnTo>
                  <a:lnTo>
                    <a:pt x="109" y="88"/>
                  </a:lnTo>
                  <a:lnTo>
                    <a:pt x="107" y="90"/>
                  </a:lnTo>
                  <a:lnTo>
                    <a:pt x="103" y="86"/>
                  </a:lnTo>
                  <a:lnTo>
                    <a:pt x="97" y="82"/>
                  </a:lnTo>
                  <a:lnTo>
                    <a:pt x="90" y="82"/>
                  </a:lnTo>
                  <a:lnTo>
                    <a:pt x="86" y="82"/>
                  </a:lnTo>
                  <a:lnTo>
                    <a:pt x="82" y="87"/>
                  </a:lnTo>
                  <a:lnTo>
                    <a:pt x="71" y="88"/>
                  </a:lnTo>
                  <a:lnTo>
                    <a:pt x="70" y="94"/>
                  </a:lnTo>
                  <a:lnTo>
                    <a:pt x="66" y="94"/>
                  </a:lnTo>
                  <a:lnTo>
                    <a:pt x="62" y="97"/>
                  </a:lnTo>
                  <a:lnTo>
                    <a:pt x="61" y="101"/>
                  </a:lnTo>
                  <a:lnTo>
                    <a:pt x="61" y="104"/>
                  </a:lnTo>
                  <a:lnTo>
                    <a:pt x="63" y="108"/>
                  </a:lnTo>
                  <a:lnTo>
                    <a:pt x="64" y="111"/>
                  </a:lnTo>
                  <a:lnTo>
                    <a:pt x="60" y="114"/>
                  </a:lnTo>
                  <a:lnTo>
                    <a:pt x="51" y="117"/>
                  </a:lnTo>
                  <a:lnTo>
                    <a:pt x="47" y="120"/>
                  </a:lnTo>
                  <a:lnTo>
                    <a:pt x="48" y="127"/>
                  </a:lnTo>
                  <a:lnTo>
                    <a:pt x="50" y="133"/>
                  </a:lnTo>
                  <a:lnTo>
                    <a:pt x="48" y="135"/>
                  </a:lnTo>
                  <a:lnTo>
                    <a:pt x="43" y="135"/>
                  </a:lnTo>
                  <a:lnTo>
                    <a:pt x="40" y="135"/>
                  </a:lnTo>
                  <a:lnTo>
                    <a:pt x="33" y="131"/>
                  </a:lnTo>
                  <a:lnTo>
                    <a:pt x="27" y="129"/>
                  </a:lnTo>
                  <a:lnTo>
                    <a:pt x="24" y="130"/>
                  </a:lnTo>
                  <a:lnTo>
                    <a:pt x="20" y="133"/>
                  </a:lnTo>
                  <a:lnTo>
                    <a:pt x="17" y="135"/>
                  </a:lnTo>
                  <a:lnTo>
                    <a:pt x="15" y="140"/>
                  </a:lnTo>
                  <a:lnTo>
                    <a:pt x="15" y="143"/>
                  </a:lnTo>
                  <a:lnTo>
                    <a:pt x="20" y="147"/>
                  </a:lnTo>
                  <a:lnTo>
                    <a:pt x="20" y="149"/>
                  </a:lnTo>
                  <a:lnTo>
                    <a:pt x="20" y="154"/>
                  </a:lnTo>
                  <a:lnTo>
                    <a:pt x="20" y="162"/>
                  </a:lnTo>
                  <a:lnTo>
                    <a:pt x="17" y="164"/>
                  </a:lnTo>
                  <a:lnTo>
                    <a:pt x="14" y="166"/>
                  </a:lnTo>
                  <a:lnTo>
                    <a:pt x="10" y="166"/>
                  </a:lnTo>
                  <a:lnTo>
                    <a:pt x="8" y="167"/>
                  </a:lnTo>
                  <a:lnTo>
                    <a:pt x="6" y="168"/>
                  </a:lnTo>
                  <a:lnTo>
                    <a:pt x="5" y="168"/>
                  </a:lnTo>
                  <a:lnTo>
                    <a:pt x="1" y="168"/>
                  </a:lnTo>
                  <a:lnTo>
                    <a:pt x="0" y="170"/>
                  </a:lnTo>
                  <a:lnTo>
                    <a:pt x="0" y="173"/>
                  </a:lnTo>
                  <a:lnTo>
                    <a:pt x="1" y="175"/>
                  </a:lnTo>
                  <a:lnTo>
                    <a:pt x="3" y="173"/>
                  </a:lnTo>
                  <a:lnTo>
                    <a:pt x="74" y="172"/>
                  </a:lnTo>
                  <a:lnTo>
                    <a:pt x="72" y="160"/>
                  </a:lnTo>
                  <a:lnTo>
                    <a:pt x="205" y="152"/>
                  </a:lnTo>
                  <a:lnTo>
                    <a:pt x="275" y="145"/>
                  </a:lnTo>
                  <a:lnTo>
                    <a:pt x="283" y="140"/>
                  </a:lnTo>
                  <a:lnTo>
                    <a:pt x="289" y="13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45">
              <a:extLst>
                <a:ext uri="{FF2B5EF4-FFF2-40B4-BE49-F238E27FC236}">
                  <a16:creationId xmlns:a16="http://schemas.microsoft.com/office/drawing/2014/main" id="{70853FFB-675F-A082-4EF3-7EDD214F3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1846" y="6957886"/>
              <a:ext cx="1259263" cy="1095722"/>
            </a:xfrm>
            <a:custGeom>
              <a:avLst/>
              <a:gdLst>
                <a:gd name="T0" fmla="*/ 1647 w 1763"/>
                <a:gd name="T1" fmla="*/ 1321 h 1532"/>
                <a:gd name="T2" fmla="*/ 1677 w 1763"/>
                <a:gd name="T3" fmla="*/ 1310 h 1532"/>
                <a:gd name="T4" fmla="*/ 1694 w 1763"/>
                <a:gd name="T5" fmla="*/ 1303 h 1532"/>
                <a:gd name="T6" fmla="*/ 1730 w 1763"/>
                <a:gd name="T7" fmla="*/ 1296 h 1532"/>
                <a:gd name="T8" fmla="*/ 1763 w 1763"/>
                <a:gd name="T9" fmla="*/ 1272 h 1532"/>
                <a:gd name="T10" fmla="*/ 1763 w 1763"/>
                <a:gd name="T11" fmla="*/ 1200 h 1532"/>
                <a:gd name="T12" fmla="*/ 1733 w 1763"/>
                <a:gd name="T13" fmla="*/ 1166 h 1532"/>
                <a:gd name="T14" fmla="*/ 1743 w 1763"/>
                <a:gd name="T15" fmla="*/ 1119 h 1532"/>
                <a:gd name="T16" fmla="*/ 1688 w 1763"/>
                <a:gd name="T17" fmla="*/ 1152 h 1532"/>
                <a:gd name="T18" fmla="*/ 1647 w 1763"/>
                <a:gd name="T19" fmla="*/ 1080 h 1532"/>
                <a:gd name="T20" fmla="*/ 1662 w 1763"/>
                <a:gd name="T21" fmla="*/ 1011 h 1532"/>
                <a:gd name="T22" fmla="*/ 1608 w 1763"/>
                <a:gd name="T23" fmla="*/ 907 h 1532"/>
                <a:gd name="T24" fmla="*/ 1499 w 1763"/>
                <a:gd name="T25" fmla="*/ 858 h 1532"/>
                <a:gd name="T26" fmla="*/ 1402 w 1763"/>
                <a:gd name="T27" fmla="*/ 778 h 1532"/>
                <a:gd name="T28" fmla="*/ 1413 w 1763"/>
                <a:gd name="T29" fmla="*/ 695 h 1532"/>
                <a:gd name="T30" fmla="*/ 1429 w 1763"/>
                <a:gd name="T31" fmla="*/ 629 h 1532"/>
                <a:gd name="T32" fmla="*/ 1429 w 1763"/>
                <a:gd name="T33" fmla="*/ 554 h 1532"/>
                <a:gd name="T34" fmla="*/ 1357 w 1763"/>
                <a:gd name="T35" fmla="*/ 527 h 1532"/>
                <a:gd name="T36" fmla="*/ 1322 w 1763"/>
                <a:gd name="T37" fmla="*/ 565 h 1532"/>
                <a:gd name="T38" fmla="*/ 1293 w 1763"/>
                <a:gd name="T39" fmla="*/ 463 h 1532"/>
                <a:gd name="T40" fmla="*/ 1127 w 1763"/>
                <a:gd name="T41" fmla="*/ 313 h 1532"/>
                <a:gd name="T42" fmla="*/ 1084 w 1763"/>
                <a:gd name="T43" fmla="*/ 156 h 1532"/>
                <a:gd name="T44" fmla="*/ 1093 w 1763"/>
                <a:gd name="T45" fmla="*/ 73 h 1532"/>
                <a:gd name="T46" fmla="*/ 0 w 1763"/>
                <a:gd name="T47" fmla="*/ 13 h 1532"/>
                <a:gd name="T48" fmla="*/ 26 w 1763"/>
                <a:gd name="T49" fmla="*/ 43 h 1532"/>
                <a:gd name="T50" fmla="*/ 25 w 1763"/>
                <a:gd name="T51" fmla="*/ 94 h 1532"/>
                <a:gd name="T52" fmla="*/ 38 w 1763"/>
                <a:gd name="T53" fmla="*/ 117 h 1532"/>
                <a:gd name="T54" fmla="*/ 86 w 1763"/>
                <a:gd name="T55" fmla="*/ 173 h 1532"/>
                <a:gd name="T56" fmla="*/ 97 w 1763"/>
                <a:gd name="T57" fmla="*/ 200 h 1532"/>
                <a:gd name="T58" fmla="*/ 140 w 1763"/>
                <a:gd name="T59" fmla="*/ 270 h 1532"/>
                <a:gd name="T60" fmla="*/ 216 w 1763"/>
                <a:gd name="T61" fmla="*/ 270 h 1532"/>
                <a:gd name="T62" fmla="*/ 191 w 1763"/>
                <a:gd name="T63" fmla="*/ 346 h 1532"/>
                <a:gd name="T64" fmla="*/ 216 w 1763"/>
                <a:gd name="T65" fmla="*/ 421 h 1532"/>
                <a:gd name="T66" fmla="*/ 250 w 1763"/>
                <a:gd name="T67" fmla="*/ 481 h 1532"/>
                <a:gd name="T68" fmla="*/ 292 w 1763"/>
                <a:gd name="T69" fmla="*/ 1224 h 1532"/>
                <a:gd name="T70" fmla="*/ 1492 w 1763"/>
                <a:gd name="T71" fmla="*/ 1366 h 1532"/>
                <a:gd name="T72" fmla="*/ 1422 w 1763"/>
                <a:gd name="T73" fmla="*/ 1532 h 1532"/>
                <a:gd name="T74" fmla="*/ 1623 w 1763"/>
                <a:gd name="T75" fmla="*/ 1497 h 1532"/>
                <a:gd name="T76" fmla="*/ 1646 w 1763"/>
                <a:gd name="T77" fmla="*/ 1465 h 1532"/>
                <a:gd name="T78" fmla="*/ 1623 w 1763"/>
                <a:gd name="T79" fmla="*/ 1432 h 1532"/>
                <a:gd name="T80" fmla="*/ 1646 w 1763"/>
                <a:gd name="T81" fmla="*/ 1408 h 1532"/>
                <a:gd name="T82" fmla="*/ 1649 w 1763"/>
                <a:gd name="T83" fmla="*/ 1366 h 1532"/>
                <a:gd name="T84" fmla="*/ 1647 w 1763"/>
                <a:gd name="T85" fmla="*/ 1337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63" h="1532">
                  <a:moveTo>
                    <a:pt x="1647" y="1337"/>
                  </a:moveTo>
                  <a:cubicBezTo>
                    <a:pt x="1647" y="1321"/>
                    <a:pt x="1647" y="1321"/>
                    <a:pt x="1647" y="1321"/>
                  </a:cubicBezTo>
                  <a:cubicBezTo>
                    <a:pt x="1654" y="1310"/>
                    <a:pt x="1654" y="1310"/>
                    <a:pt x="1654" y="1310"/>
                  </a:cubicBezTo>
                  <a:cubicBezTo>
                    <a:pt x="1677" y="1310"/>
                    <a:pt x="1677" y="1310"/>
                    <a:pt x="1677" y="1310"/>
                  </a:cubicBezTo>
                  <a:cubicBezTo>
                    <a:pt x="1683" y="1310"/>
                    <a:pt x="1683" y="1310"/>
                    <a:pt x="1683" y="1310"/>
                  </a:cubicBezTo>
                  <a:cubicBezTo>
                    <a:pt x="1694" y="1303"/>
                    <a:pt x="1694" y="1303"/>
                    <a:pt x="1694" y="1303"/>
                  </a:cubicBezTo>
                  <a:cubicBezTo>
                    <a:pt x="1704" y="1296"/>
                    <a:pt x="1704" y="1296"/>
                    <a:pt x="1704" y="1296"/>
                  </a:cubicBezTo>
                  <a:cubicBezTo>
                    <a:pt x="1730" y="1296"/>
                    <a:pt x="1730" y="1296"/>
                    <a:pt x="1730" y="1296"/>
                  </a:cubicBezTo>
                  <a:cubicBezTo>
                    <a:pt x="1747" y="1288"/>
                    <a:pt x="1747" y="1288"/>
                    <a:pt x="1747" y="1288"/>
                  </a:cubicBezTo>
                  <a:cubicBezTo>
                    <a:pt x="1763" y="1272"/>
                    <a:pt x="1763" y="1272"/>
                    <a:pt x="1763" y="1272"/>
                  </a:cubicBezTo>
                  <a:cubicBezTo>
                    <a:pt x="1763" y="1231"/>
                    <a:pt x="1763" y="1231"/>
                    <a:pt x="1763" y="1231"/>
                  </a:cubicBezTo>
                  <a:cubicBezTo>
                    <a:pt x="1763" y="1200"/>
                    <a:pt x="1763" y="1200"/>
                    <a:pt x="1763" y="1200"/>
                  </a:cubicBezTo>
                  <a:cubicBezTo>
                    <a:pt x="1763" y="1189"/>
                    <a:pt x="1763" y="1189"/>
                    <a:pt x="1763" y="1189"/>
                  </a:cubicBezTo>
                  <a:cubicBezTo>
                    <a:pt x="1733" y="1166"/>
                    <a:pt x="1733" y="1166"/>
                    <a:pt x="1733" y="1166"/>
                  </a:cubicBezTo>
                  <a:cubicBezTo>
                    <a:pt x="1732" y="1147"/>
                    <a:pt x="1732" y="1147"/>
                    <a:pt x="1732" y="1147"/>
                  </a:cubicBezTo>
                  <a:cubicBezTo>
                    <a:pt x="1743" y="1119"/>
                    <a:pt x="1743" y="1119"/>
                    <a:pt x="1743" y="1119"/>
                  </a:cubicBezTo>
                  <a:cubicBezTo>
                    <a:pt x="1707" y="1119"/>
                    <a:pt x="1707" y="1119"/>
                    <a:pt x="1707" y="1119"/>
                  </a:cubicBezTo>
                  <a:cubicBezTo>
                    <a:pt x="1688" y="1152"/>
                    <a:pt x="1688" y="1152"/>
                    <a:pt x="1688" y="1152"/>
                  </a:cubicBezTo>
                  <a:cubicBezTo>
                    <a:pt x="1688" y="1119"/>
                    <a:pt x="1688" y="1119"/>
                    <a:pt x="1688" y="1119"/>
                  </a:cubicBezTo>
                  <a:cubicBezTo>
                    <a:pt x="1647" y="1080"/>
                    <a:pt x="1647" y="1080"/>
                    <a:pt x="1647" y="1080"/>
                  </a:cubicBezTo>
                  <a:cubicBezTo>
                    <a:pt x="1659" y="1054"/>
                    <a:pt x="1659" y="1054"/>
                    <a:pt x="1659" y="1054"/>
                  </a:cubicBezTo>
                  <a:cubicBezTo>
                    <a:pt x="1662" y="1011"/>
                    <a:pt x="1662" y="1011"/>
                    <a:pt x="1662" y="1011"/>
                  </a:cubicBezTo>
                  <a:cubicBezTo>
                    <a:pt x="1635" y="939"/>
                    <a:pt x="1635" y="939"/>
                    <a:pt x="1635" y="939"/>
                  </a:cubicBezTo>
                  <a:cubicBezTo>
                    <a:pt x="1608" y="907"/>
                    <a:pt x="1608" y="907"/>
                    <a:pt x="1608" y="907"/>
                  </a:cubicBezTo>
                  <a:cubicBezTo>
                    <a:pt x="1520" y="848"/>
                    <a:pt x="1520" y="848"/>
                    <a:pt x="1520" y="848"/>
                  </a:cubicBezTo>
                  <a:cubicBezTo>
                    <a:pt x="1499" y="858"/>
                    <a:pt x="1499" y="858"/>
                    <a:pt x="1499" y="858"/>
                  </a:cubicBezTo>
                  <a:cubicBezTo>
                    <a:pt x="1445" y="821"/>
                    <a:pt x="1445" y="821"/>
                    <a:pt x="1445" y="821"/>
                  </a:cubicBezTo>
                  <a:cubicBezTo>
                    <a:pt x="1402" y="778"/>
                    <a:pt x="1402" y="778"/>
                    <a:pt x="1402" y="778"/>
                  </a:cubicBezTo>
                  <a:cubicBezTo>
                    <a:pt x="1402" y="738"/>
                    <a:pt x="1402" y="738"/>
                    <a:pt x="1402" y="738"/>
                  </a:cubicBezTo>
                  <a:cubicBezTo>
                    <a:pt x="1413" y="695"/>
                    <a:pt x="1413" y="695"/>
                    <a:pt x="1413" y="695"/>
                  </a:cubicBezTo>
                  <a:cubicBezTo>
                    <a:pt x="1421" y="666"/>
                    <a:pt x="1421" y="666"/>
                    <a:pt x="1421" y="666"/>
                  </a:cubicBezTo>
                  <a:cubicBezTo>
                    <a:pt x="1429" y="629"/>
                    <a:pt x="1429" y="629"/>
                    <a:pt x="1429" y="629"/>
                  </a:cubicBezTo>
                  <a:cubicBezTo>
                    <a:pt x="1448" y="581"/>
                    <a:pt x="1448" y="581"/>
                    <a:pt x="1448" y="581"/>
                  </a:cubicBezTo>
                  <a:cubicBezTo>
                    <a:pt x="1429" y="554"/>
                    <a:pt x="1429" y="554"/>
                    <a:pt x="1429" y="554"/>
                  </a:cubicBezTo>
                  <a:cubicBezTo>
                    <a:pt x="1402" y="527"/>
                    <a:pt x="1402" y="527"/>
                    <a:pt x="1402" y="527"/>
                  </a:cubicBezTo>
                  <a:cubicBezTo>
                    <a:pt x="1357" y="527"/>
                    <a:pt x="1357" y="527"/>
                    <a:pt x="1357" y="527"/>
                  </a:cubicBezTo>
                  <a:cubicBezTo>
                    <a:pt x="1341" y="542"/>
                    <a:pt x="1341" y="542"/>
                    <a:pt x="1341" y="542"/>
                  </a:cubicBezTo>
                  <a:cubicBezTo>
                    <a:pt x="1322" y="565"/>
                    <a:pt x="1322" y="565"/>
                    <a:pt x="1322" y="565"/>
                  </a:cubicBezTo>
                  <a:cubicBezTo>
                    <a:pt x="1293" y="527"/>
                    <a:pt x="1293" y="527"/>
                    <a:pt x="1293" y="527"/>
                  </a:cubicBezTo>
                  <a:cubicBezTo>
                    <a:pt x="1293" y="463"/>
                    <a:pt x="1293" y="463"/>
                    <a:pt x="1293" y="463"/>
                  </a:cubicBezTo>
                  <a:cubicBezTo>
                    <a:pt x="1254" y="418"/>
                    <a:pt x="1254" y="418"/>
                    <a:pt x="1254" y="418"/>
                  </a:cubicBezTo>
                  <a:cubicBezTo>
                    <a:pt x="1127" y="313"/>
                    <a:pt x="1127" y="313"/>
                    <a:pt x="1127" y="313"/>
                  </a:cubicBezTo>
                  <a:cubicBezTo>
                    <a:pt x="1084" y="233"/>
                    <a:pt x="1084" y="233"/>
                    <a:pt x="1084" y="233"/>
                  </a:cubicBezTo>
                  <a:cubicBezTo>
                    <a:pt x="1084" y="156"/>
                    <a:pt x="1084" y="156"/>
                    <a:pt x="1084" y="156"/>
                  </a:cubicBezTo>
                  <a:cubicBezTo>
                    <a:pt x="1084" y="81"/>
                    <a:pt x="1084" y="81"/>
                    <a:pt x="1084" y="81"/>
                  </a:cubicBezTo>
                  <a:cubicBezTo>
                    <a:pt x="1093" y="73"/>
                    <a:pt x="1093" y="73"/>
                    <a:pt x="1093" y="73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33" y="80"/>
                    <a:pt x="33" y="80"/>
                    <a:pt x="33" y="80"/>
                  </a:cubicBezTo>
                  <a:cubicBezTo>
                    <a:pt x="25" y="94"/>
                    <a:pt x="25" y="94"/>
                    <a:pt x="25" y="94"/>
                  </a:cubicBezTo>
                  <a:cubicBezTo>
                    <a:pt x="33" y="112"/>
                    <a:pt x="33" y="112"/>
                    <a:pt x="33" y="112"/>
                  </a:cubicBezTo>
                  <a:cubicBezTo>
                    <a:pt x="33" y="112"/>
                    <a:pt x="31" y="111"/>
                    <a:pt x="38" y="117"/>
                  </a:cubicBezTo>
                  <a:cubicBezTo>
                    <a:pt x="45" y="123"/>
                    <a:pt x="76" y="134"/>
                    <a:pt x="76" y="134"/>
                  </a:cubicBezTo>
                  <a:cubicBezTo>
                    <a:pt x="86" y="173"/>
                    <a:pt x="86" y="173"/>
                    <a:pt x="86" y="173"/>
                  </a:cubicBezTo>
                  <a:cubicBezTo>
                    <a:pt x="99" y="203"/>
                    <a:pt x="99" y="203"/>
                    <a:pt x="99" y="203"/>
                  </a:cubicBezTo>
                  <a:cubicBezTo>
                    <a:pt x="97" y="200"/>
                    <a:pt x="97" y="200"/>
                    <a:pt x="97" y="200"/>
                  </a:cubicBezTo>
                  <a:cubicBezTo>
                    <a:pt x="129" y="240"/>
                    <a:pt x="129" y="240"/>
                    <a:pt x="129" y="240"/>
                  </a:cubicBezTo>
                  <a:cubicBezTo>
                    <a:pt x="140" y="270"/>
                    <a:pt x="140" y="270"/>
                    <a:pt x="140" y="270"/>
                  </a:cubicBezTo>
                  <a:cubicBezTo>
                    <a:pt x="198" y="270"/>
                    <a:pt x="198" y="270"/>
                    <a:pt x="198" y="270"/>
                  </a:cubicBezTo>
                  <a:cubicBezTo>
                    <a:pt x="216" y="270"/>
                    <a:pt x="216" y="270"/>
                    <a:pt x="216" y="270"/>
                  </a:cubicBezTo>
                  <a:cubicBezTo>
                    <a:pt x="216" y="307"/>
                    <a:pt x="216" y="307"/>
                    <a:pt x="216" y="307"/>
                  </a:cubicBezTo>
                  <a:cubicBezTo>
                    <a:pt x="191" y="346"/>
                    <a:pt x="191" y="346"/>
                    <a:pt x="191" y="346"/>
                  </a:cubicBezTo>
                  <a:cubicBezTo>
                    <a:pt x="172" y="384"/>
                    <a:pt x="172" y="384"/>
                    <a:pt x="172" y="384"/>
                  </a:cubicBezTo>
                  <a:cubicBezTo>
                    <a:pt x="216" y="421"/>
                    <a:pt x="216" y="421"/>
                    <a:pt x="216" y="421"/>
                  </a:cubicBezTo>
                  <a:cubicBezTo>
                    <a:pt x="230" y="466"/>
                    <a:pt x="230" y="466"/>
                    <a:pt x="230" y="466"/>
                  </a:cubicBezTo>
                  <a:cubicBezTo>
                    <a:pt x="250" y="481"/>
                    <a:pt x="250" y="481"/>
                    <a:pt x="250" y="481"/>
                  </a:cubicBezTo>
                  <a:cubicBezTo>
                    <a:pt x="294" y="503"/>
                    <a:pt x="294" y="503"/>
                    <a:pt x="294" y="503"/>
                  </a:cubicBezTo>
                  <a:cubicBezTo>
                    <a:pt x="292" y="1224"/>
                    <a:pt x="292" y="1224"/>
                    <a:pt x="292" y="1224"/>
                  </a:cubicBezTo>
                  <a:cubicBezTo>
                    <a:pt x="292" y="1393"/>
                    <a:pt x="292" y="1393"/>
                    <a:pt x="292" y="1393"/>
                  </a:cubicBezTo>
                  <a:cubicBezTo>
                    <a:pt x="1492" y="1366"/>
                    <a:pt x="1492" y="1366"/>
                    <a:pt x="1492" y="1366"/>
                  </a:cubicBezTo>
                  <a:cubicBezTo>
                    <a:pt x="1499" y="1412"/>
                    <a:pt x="1499" y="1412"/>
                    <a:pt x="1499" y="1412"/>
                  </a:cubicBezTo>
                  <a:cubicBezTo>
                    <a:pt x="1422" y="1532"/>
                    <a:pt x="1422" y="1532"/>
                    <a:pt x="1422" y="1532"/>
                  </a:cubicBezTo>
                  <a:cubicBezTo>
                    <a:pt x="1619" y="1518"/>
                    <a:pt x="1619" y="1518"/>
                    <a:pt x="1619" y="1518"/>
                  </a:cubicBezTo>
                  <a:cubicBezTo>
                    <a:pt x="1623" y="1497"/>
                    <a:pt x="1623" y="1497"/>
                    <a:pt x="1623" y="1497"/>
                  </a:cubicBezTo>
                  <a:cubicBezTo>
                    <a:pt x="1637" y="1481"/>
                    <a:pt x="1637" y="1481"/>
                    <a:pt x="1637" y="1481"/>
                  </a:cubicBezTo>
                  <a:cubicBezTo>
                    <a:pt x="1637" y="1481"/>
                    <a:pt x="1649" y="1472"/>
                    <a:pt x="1646" y="1465"/>
                  </a:cubicBezTo>
                  <a:cubicBezTo>
                    <a:pt x="1643" y="1459"/>
                    <a:pt x="1633" y="1438"/>
                    <a:pt x="1633" y="1438"/>
                  </a:cubicBezTo>
                  <a:cubicBezTo>
                    <a:pt x="1623" y="1432"/>
                    <a:pt x="1623" y="1432"/>
                    <a:pt x="1623" y="1432"/>
                  </a:cubicBezTo>
                  <a:cubicBezTo>
                    <a:pt x="1633" y="1416"/>
                    <a:pt x="1633" y="1416"/>
                    <a:pt x="1633" y="1416"/>
                  </a:cubicBezTo>
                  <a:cubicBezTo>
                    <a:pt x="1646" y="1408"/>
                    <a:pt x="1646" y="1408"/>
                    <a:pt x="1646" y="1408"/>
                  </a:cubicBezTo>
                  <a:cubicBezTo>
                    <a:pt x="1654" y="1386"/>
                    <a:pt x="1654" y="1386"/>
                    <a:pt x="1654" y="1386"/>
                  </a:cubicBezTo>
                  <a:cubicBezTo>
                    <a:pt x="1649" y="1366"/>
                    <a:pt x="1649" y="1366"/>
                    <a:pt x="1649" y="1366"/>
                  </a:cubicBezTo>
                  <a:cubicBezTo>
                    <a:pt x="1654" y="1346"/>
                    <a:pt x="1654" y="1346"/>
                    <a:pt x="1654" y="1346"/>
                  </a:cubicBezTo>
                  <a:lnTo>
                    <a:pt x="1647" y="1337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46">
              <a:extLst>
                <a:ext uri="{FF2B5EF4-FFF2-40B4-BE49-F238E27FC236}">
                  <a16:creationId xmlns:a16="http://schemas.microsoft.com/office/drawing/2014/main" id="{DD6A9AA2-0CCD-B635-A8C0-274594977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066" y="4860476"/>
              <a:ext cx="1218378" cy="1414627"/>
            </a:xfrm>
            <a:custGeom>
              <a:avLst/>
              <a:gdLst>
                <a:gd name="T0" fmla="*/ 199 w 298"/>
                <a:gd name="T1" fmla="*/ 192 h 346"/>
                <a:gd name="T2" fmla="*/ 205 w 298"/>
                <a:gd name="T3" fmla="*/ 152 h 346"/>
                <a:gd name="T4" fmla="*/ 242 w 298"/>
                <a:gd name="T5" fmla="*/ 115 h 346"/>
                <a:gd name="T6" fmla="*/ 298 w 298"/>
                <a:gd name="T7" fmla="*/ 79 h 346"/>
                <a:gd name="T8" fmla="*/ 262 w 298"/>
                <a:gd name="T9" fmla="*/ 73 h 346"/>
                <a:gd name="T10" fmla="*/ 237 w 298"/>
                <a:gd name="T11" fmla="*/ 74 h 346"/>
                <a:gd name="T12" fmla="*/ 221 w 298"/>
                <a:gd name="T13" fmla="*/ 79 h 346"/>
                <a:gd name="T14" fmla="*/ 210 w 298"/>
                <a:gd name="T15" fmla="*/ 68 h 346"/>
                <a:gd name="T16" fmla="*/ 190 w 298"/>
                <a:gd name="T17" fmla="*/ 64 h 346"/>
                <a:gd name="T18" fmla="*/ 183 w 298"/>
                <a:gd name="T19" fmla="*/ 60 h 346"/>
                <a:gd name="T20" fmla="*/ 163 w 298"/>
                <a:gd name="T21" fmla="*/ 52 h 346"/>
                <a:gd name="T22" fmla="*/ 176 w 298"/>
                <a:gd name="T23" fmla="*/ 52 h 346"/>
                <a:gd name="T24" fmla="*/ 163 w 298"/>
                <a:gd name="T25" fmla="*/ 49 h 346"/>
                <a:gd name="T26" fmla="*/ 150 w 298"/>
                <a:gd name="T27" fmla="*/ 49 h 346"/>
                <a:gd name="T28" fmla="*/ 139 w 298"/>
                <a:gd name="T29" fmla="*/ 55 h 346"/>
                <a:gd name="T30" fmla="*/ 124 w 298"/>
                <a:gd name="T31" fmla="*/ 48 h 346"/>
                <a:gd name="T32" fmla="*/ 115 w 298"/>
                <a:gd name="T33" fmla="*/ 48 h 346"/>
                <a:gd name="T34" fmla="*/ 98 w 298"/>
                <a:gd name="T35" fmla="*/ 35 h 346"/>
                <a:gd name="T36" fmla="*/ 94 w 298"/>
                <a:gd name="T37" fmla="*/ 28 h 346"/>
                <a:gd name="T38" fmla="*/ 83 w 298"/>
                <a:gd name="T39" fmla="*/ 28 h 346"/>
                <a:gd name="T40" fmla="*/ 77 w 298"/>
                <a:gd name="T41" fmla="*/ 23 h 346"/>
                <a:gd name="T42" fmla="*/ 84 w 298"/>
                <a:gd name="T43" fmla="*/ 12 h 346"/>
                <a:gd name="T44" fmla="*/ 85 w 298"/>
                <a:gd name="T45" fmla="*/ 4 h 346"/>
                <a:gd name="T46" fmla="*/ 80 w 298"/>
                <a:gd name="T47" fmla="*/ 0 h 346"/>
                <a:gd name="T48" fmla="*/ 77 w 298"/>
                <a:gd name="T49" fmla="*/ 16 h 346"/>
                <a:gd name="T50" fmla="*/ 0 w 298"/>
                <a:gd name="T51" fmla="*/ 23 h 346"/>
                <a:gd name="T52" fmla="*/ 2 w 298"/>
                <a:gd name="T53" fmla="*/ 32 h 346"/>
                <a:gd name="T54" fmla="*/ 5 w 298"/>
                <a:gd name="T55" fmla="*/ 37 h 346"/>
                <a:gd name="T56" fmla="*/ 5 w 298"/>
                <a:gd name="T57" fmla="*/ 44 h 346"/>
                <a:gd name="T58" fmla="*/ 2 w 298"/>
                <a:gd name="T59" fmla="*/ 48 h 346"/>
                <a:gd name="T60" fmla="*/ 4 w 298"/>
                <a:gd name="T61" fmla="*/ 57 h 346"/>
                <a:gd name="T62" fmla="*/ 2 w 298"/>
                <a:gd name="T63" fmla="*/ 72 h 346"/>
                <a:gd name="T64" fmla="*/ 8 w 298"/>
                <a:gd name="T65" fmla="*/ 92 h 346"/>
                <a:gd name="T66" fmla="*/ 13 w 298"/>
                <a:gd name="T67" fmla="*/ 111 h 346"/>
                <a:gd name="T68" fmla="*/ 14 w 298"/>
                <a:gd name="T69" fmla="*/ 149 h 346"/>
                <a:gd name="T70" fmla="*/ 17 w 298"/>
                <a:gd name="T71" fmla="*/ 163 h 346"/>
                <a:gd name="T72" fmla="*/ 18 w 298"/>
                <a:gd name="T73" fmla="*/ 174 h 346"/>
                <a:gd name="T74" fmla="*/ 24 w 298"/>
                <a:gd name="T75" fmla="*/ 181 h 346"/>
                <a:gd name="T76" fmla="*/ 26 w 298"/>
                <a:gd name="T77" fmla="*/ 194 h 346"/>
                <a:gd name="T78" fmla="*/ 23 w 298"/>
                <a:gd name="T79" fmla="*/ 203 h 346"/>
                <a:gd name="T80" fmla="*/ 23 w 298"/>
                <a:gd name="T81" fmla="*/ 206 h 346"/>
                <a:gd name="T82" fmla="*/ 15 w 298"/>
                <a:gd name="T83" fmla="*/ 213 h 346"/>
                <a:gd name="T84" fmla="*/ 12 w 298"/>
                <a:gd name="T85" fmla="*/ 220 h 346"/>
                <a:gd name="T86" fmla="*/ 13 w 298"/>
                <a:gd name="T87" fmla="*/ 225 h 346"/>
                <a:gd name="T88" fmla="*/ 18 w 298"/>
                <a:gd name="T89" fmla="*/ 232 h 346"/>
                <a:gd name="T90" fmla="*/ 26 w 298"/>
                <a:gd name="T91" fmla="*/ 238 h 346"/>
                <a:gd name="T92" fmla="*/ 26 w 298"/>
                <a:gd name="T93" fmla="*/ 346 h 346"/>
                <a:gd name="T94" fmla="*/ 248 w 298"/>
                <a:gd name="T95" fmla="*/ 333 h 346"/>
                <a:gd name="T96" fmla="*/ 237 w 298"/>
                <a:gd name="T97" fmla="*/ 315 h 346"/>
                <a:gd name="T98" fmla="*/ 225 w 298"/>
                <a:gd name="T99" fmla="*/ 303 h 346"/>
                <a:gd name="T100" fmla="*/ 198 w 298"/>
                <a:gd name="T101" fmla="*/ 282 h 346"/>
                <a:gd name="T102" fmla="*/ 179 w 298"/>
                <a:gd name="T103" fmla="*/ 270 h 346"/>
                <a:gd name="T104" fmla="*/ 183 w 298"/>
                <a:gd name="T105" fmla="*/ 227 h 346"/>
                <a:gd name="T106" fmla="*/ 174 w 298"/>
                <a:gd name="T107" fmla="*/ 220 h 346"/>
                <a:gd name="T108" fmla="*/ 182 w 298"/>
                <a:gd name="T109" fmla="*/ 20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8" h="346">
                  <a:moveTo>
                    <a:pt x="182" y="202"/>
                  </a:moveTo>
                  <a:lnTo>
                    <a:pt x="199" y="192"/>
                  </a:lnTo>
                  <a:lnTo>
                    <a:pt x="199" y="158"/>
                  </a:lnTo>
                  <a:lnTo>
                    <a:pt x="205" y="152"/>
                  </a:lnTo>
                  <a:lnTo>
                    <a:pt x="230" y="129"/>
                  </a:lnTo>
                  <a:lnTo>
                    <a:pt x="242" y="115"/>
                  </a:lnTo>
                  <a:lnTo>
                    <a:pt x="265" y="98"/>
                  </a:lnTo>
                  <a:lnTo>
                    <a:pt x="298" y="79"/>
                  </a:lnTo>
                  <a:lnTo>
                    <a:pt x="286" y="76"/>
                  </a:lnTo>
                  <a:lnTo>
                    <a:pt x="262" y="73"/>
                  </a:lnTo>
                  <a:lnTo>
                    <a:pt x="242" y="70"/>
                  </a:lnTo>
                  <a:lnTo>
                    <a:pt x="237" y="74"/>
                  </a:lnTo>
                  <a:lnTo>
                    <a:pt x="232" y="79"/>
                  </a:lnTo>
                  <a:lnTo>
                    <a:pt x="221" y="79"/>
                  </a:lnTo>
                  <a:lnTo>
                    <a:pt x="217" y="72"/>
                  </a:lnTo>
                  <a:lnTo>
                    <a:pt x="210" y="68"/>
                  </a:lnTo>
                  <a:lnTo>
                    <a:pt x="195" y="64"/>
                  </a:lnTo>
                  <a:lnTo>
                    <a:pt x="190" y="64"/>
                  </a:lnTo>
                  <a:lnTo>
                    <a:pt x="185" y="62"/>
                  </a:lnTo>
                  <a:lnTo>
                    <a:pt x="183" y="60"/>
                  </a:lnTo>
                  <a:lnTo>
                    <a:pt x="170" y="58"/>
                  </a:lnTo>
                  <a:lnTo>
                    <a:pt x="163" y="52"/>
                  </a:lnTo>
                  <a:lnTo>
                    <a:pt x="171" y="55"/>
                  </a:lnTo>
                  <a:lnTo>
                    <a:pt x="176" y="52"/>
                  </a:lnTo>
                  <a:lnTo>
                    <a:pt x="171" y="49"/>
                  </a:lnTo>
                  <a:lnTo>
                    <a:pt x="163" y="49"/>
                  </a:lnTo>
                  <a:lnTo>
                    <a:pt x="156" y="49"/>
                  </a:lnTo>
                  <a:lnTo>
                    <a:pt x="150" y="49"/>
                  </a:lnTo>
                  <a:lnTo>
                    <a:pt x="142" y="51"/>
                  </a:lnTo>
                  <a:lnTo>
                    <a:pt x="139" y="55"/>
                  </a:lnTo>
                  <a:lnTo>
                    <a:pt x="133" y="55"/>
                  </a:lnTo>
                  <a:lnTo>
                    <a:pt x="124" y="48"/>
                  </a:lnTo>
                  <a:lnTo>
                    <a:pt x="120" y="48"/>
                  </a:lnTo>
                  <a:lnTo>
                    <a:pt x="115" y="48"/>
                  </a:lnTo>
                  <a:lnTo>
                    <a:pt x="104" y="46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94" y="28"/>
                  </a:lnTo>
                  <a:lnTo>
                    <a:pt x="89" y="28"/>
                  </a:lnTo>
                  <a:lnTo>
                    <a:pt x="83" y="28"/>
                  </a:lnTo>
                  <a:lnTo>
                    <a:pt x="79" y="28"/>
                  </a:lnTo>
                  <a:lnTo>
                    <a:pt x="77" y="23"/>
                  </a:lnTo>
                  <a:lnTo>
                    <a:pt x="82" y="17"/>
                  </a:lnTo>
                  <a:lnTo>
                    <a:pt x="84" y="12"/>
                  </a:lnTo>
                  <a:lnTo>
                    <a:pt x="89" y="7"/>
                  </a:lnTo>
                  <a:lnTo>
                    <a:pt x="85" y="4"/>
                  </a:lnTo>
                  <a:lnTo>
                    <a:pt x="85" y="2"/>
                  </a:lnTo>
                  <a:lnTo>
                    <a:pt x="80" y="0"/>
                  </a:lnTo>
                  <a:lnTo>
                    <a:pt x="80" y="14"/>
                  </a:lnTo>
                  <a:lnTo>
                    <a:pt x="77" y="16"/>
                  </a:lnTo>
                  <a:lnTo>
                    <a:pt x="75" y="23"/>
                  </a:lnTo>
                  <a:lnTo>
                    <a:pt x="0" y="23"/>
                  </a:lnTo>
                  <a:lnTo>
                    <a:pt x="1" y="28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5" y="37"/>
                  </a:lnTo>
                  <a:lnTo>
                    <a:pt x="6" y="42"/>
                  </a:lnTo>
                  <a:lnTo>
                    <a:pt x="5" y="44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2" y="54"/>
                  </a:lnTo>
                  <a:lnTo>
                    <a:pt x="4" y="57"/>
                  </a:lnTo>
                  <a:lnTo>
                    <a:pt x="4" y="64"/>
                  </a:lnTo>
                  <a:lnTo>
                    <a:pt x="2" y="72"/>
                  </a:lnTo>
                  <a:lnTo>
                    <a:pt x="5" y="79"/>
                  </a:lnTo>
                  <a:lnTo>
                    <a:pt x="8" y="92"/>
                  </a:lnTo>
                  <a:lnTo>
                    <a:pt x="13" y="100"/>
                  </a:lnTo>
                  <a:lnTo>
                    <a:pt x="13" y="111"/>
                  </a:lnTo>
                  <a:lnTo>
                    <a:pt x="14" y="132"/>
                  </a:lnTo>
                  <a:lnTo>
                    <a:pt x="14" y="149"/>
                  </a:lnTo>
                  <a:lnTo>
                    <a:pt x="14" y="160"/>
                  </a:lnTo>
                  <a:lnTo>
                    <a:pt x="17" y="163"/>
                  </a:lnTo>
                  <a:lnTo>
                    <a:pt x="18" y="166"/>
                  </a:lnTo>
                  <a:lnTo>
                    <a:pt x="18" y="174"/>
                  </a:lnTo>
                  <a:lnTo>
                    <a:pt x="21" y="178"/>
                  </a:lnTo>
                  <a:lnTo>
                    <a:pt x="24" y="181"/>
                  </a:lnTo>
                  <a:lnTo>
                    <a:pt x="26" y="189"/>
                  </a:lnTo>
                  <a:lnTo>
                    <a:pt x="26" y="194"/>
                  </a:lnTo>
                  <a:lnTo>
                    <a:pt x="26" y="201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6"/>
                  </a:lnTo>
                  <a:lnTo>
                    <a:pt x="19" y="210"/>
                  </a:lnTo>
                  <a:lnTo>
                    <a:pt x="15" y="213"/>
                  </a:lnTo>
                  <a:lnTo>
                    <a:pt x="12" y="217"/>
                  </a:lnTo>
                  <a:lnTo>
                    <a:pt x="12" y="220"/>
                  </a:lnTo>
                  <a:lnTo>
                    <a:pt x="12" y="223"/>
                  </a:lnTo>
                  <a:lnTo>
                    <a:pt x="13" y="225"/>
                  </a:lnTo>
                  <a:lnTo>
                    <a:pt x="16" y="229"/>
                  </a:lnTo>
                  <a:lnTo>
                    <a:pt x="18" y="232"/>
                  </a:lnTo>
                  <a:lnTo>
                    <a:pt x="24" y="235"/>
                  </a:lnTo>
                  <a:lnTo>
                    <a:pt x="26" y="238"/>
                  </a:lnTo>
                  <a:lnTo>
                    <a:pt x="30" y="242"/>
                  </a:lnTo>
                  <a:lnTo>
                    <a:pt x="26" y="346"/>
                  </a:lnTo>
                  <a:lnTo>
                    <a:pt x="247" y="342"/>
                  </a:lnTo>
                  <a:lnTo>
                    <a:pt x="248" y="333"/>
                  </a:lnTo>
                  <a:lnTo>
                    <a:pt x="247" y="325"/>
                  </a:lnTo>
                  <a:lnTo>
                    <a:pt x="237" y="315"/>
                  </a:lnTo>
                  <a:lnTo>
                    <a:pt x="229" y="309"/>
                  </a:lnTo>
                  <a:lnTo>
                    <a:pt x="225" y="303"/>
                  </a:lnTo>
                  <a:lnTo>
                    <a:pt x="214" y="291"/>
                  </a:lnTo>
                  <a:lnTo>
                    <a:pt x="198" y="282"/>
                  </a:lnTo>
                  <a:lnTo>
                    <a:pt x="186" y="276"/>
                  </a:lnTo>
                  <a:lnTo>
                    <a:pt x="179" y="270"/>
                  </a:lnTo>
                  <a:lnTo>
                    <a:pt x="180" y="247"/>
                  </a:lnTo>
                  <a:lnTo>
                    <a:pt x="183" y="227"/>
                  </a:lnTo>
                  <a:lnTo>
                    <a:pt x="180" y="227"/>
                  </a:lnTo>
                  <a:lnTo>
                    <a:pt x="174" y="220"/>
                  </a:lnTo>
                  <a:lnTo>
                    <a:pt x="180" y="207"/>
                  </a:lnTo>
                  <a:lnTo>
                    <a:pt x="182" y="202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Line 47">
              <a:extLst>
                <a:ext uri="{FF2B5EF4-FFF2-40B4-BE49-F238E27FC236}">
                  <a16:creationId xmlns:a16="http://schemas.microsoft.com/office/drawing/2014/main" id="{70938A1C-6F32-C2B2-99DE-AB46BBDBAA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201033" y="5530993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Line 48">
              <a:extLst>
                <a:ext uri="{FF2B5EF4-FFF2-40B4-BE49-F238E27FC236}">
                  <a16:creationId xmlns:a16="http://schemas.microsoft.com/office/drawing/2014/main" id="{DF1403B5-E9A7-E3FB-977A-FB3BB1CD90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201033" y="5530993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49">
              <a:extLst>
                <a:ext uri="{FF2B5EF4-FFF2-40B4-BE49-F238E27FC236}">
                  <a16:creationId xmlns:a16="http://schemas.microsoft.com/office/drawing/2014/main" id="{719CEEDF-689F-1292-3A06-114D40D41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7230" y="5277505"/>
              <a:ext cx="1426893" cy="1332856"/>
            </a:xfrm>
            <a:custGeom>
              <a:avLst/>
              <a:gdLst>
                <a:gd name="T0" fmla="*/ 88 w 1994"/>
                <a:gd name="T1" fmla="*/ 300 h 1868"/>
                <a:gd name="T2" fmla="*/ 202 w 1994"/>
                <a:gd name="T3" fmla="*/ 248 h 1868"/>
                <a:gd name="T4" fmla="*/ 363 w 1994"/>
                <a:gd name="T5" fmla="*/ 119 h 1868"/>
                <a:gd name="T6" fmla="*/ 532 w 1994"/>
                <a:gd name="T7" fmla="*/ 0 h 1868"/>
                <a:gd name="T8" fmla="*/ 524 w 1994"/>
                <a:gd name="T9" fmla="*/ 40 h 1868"/>
                <a:gd name="T10" fmla="*/ 453 w 1994"/>
                <a:gd name="T11" fmla="*/ 129 h 1868"/>
                <a:gd name="T12" fmla="*/ 465 w 1994"/>
                <a:gd name="T13" fmla="*/ 198 h 1868"/>
                <a:gd name="T14" fmla="*/ 534 w 1994"/>
                <a:gd name="T15" fmla="*/ 195 h 1868"/>
                <a:gd name="T16" fmla="*/ 771 w 1994"/>
                <a:gd name="T17" fmla="*/ 314 h 1868"/>
                <a:gd name="T18" fmla="*/ 940 w 1994"/>
                <a:gd name="T19" fmla="*/ 267 h 1868"/>
                <a:gd name="T20" fmla="*/ 1172 w 1994"/>
                <a:gd name="T21" fmla="*/ 195 h 1868"/>
                <a:gd name="T22" fmla="*/ 1372 w 1994"/>
                <a:gd name="T23" fmla="*/ 259 h 1868"/>
                <a:gd name="T24" fmla="*/ 1503 w 1994"/>
                <a:gd name="T25" fmla="*/ 381 h 1868"/>
                <a:gd name="T26" fmla="*/ 1612 w 1994"/>
                <a:gd name="T27" fmla="*/ 389 h 1868"/>
                <a:gd name="T28" fmla="*/ 1519 w 1994"/>
                <a:gd name="T29" fmla="*/ 426 h 1868"/>
                <a:gd name="T30" fmla="*/ 1340 w 1994"/>
                <a:gd name="T31" fmla="*/ 442 h 1868"/>
                <a:gd name="T32" fmla="*/ 1393 w 1994"/>
                <a:gd name="T33" fmla="*/ 513 h 1868"/>
                <a:gd name="T34" fmla="*/ 1418 w 1994"/>
                <a:gd name="T35" fmla="*/ 521 h 1868"/>
                <a:gd name="T36" fmla="*/ 1621 w 1994"/>
                <a:gd name="T37" fmla="*/ 609 h 1868"/>
                <a:gd name="T38" fmla="*/ 1706 w 1994"/>
                <a:gd name="T39" fmla="*/ 755 h 1868"/>
                <a:gd name="T40" fmla="*/ 1697 w 1994"/>
                <a:gd name="T41" fmla="*/ 973 h 1868"/>
                <a:gd name="T42" fmla="*/ 1619 w 1994"/>
                <a:gd name="T43" fmla="*/ 1160 h 1868"/>
                <a:gd name="T44" fmla="*/ 1706 w 1994"/>
                <a:gd name="T45" fmla="*/ 1152 h 1868"/>
                <a:gd name="T46" fmla="*/ 1770 w 1994"/>
                <a:gd name="T47" fmla="*/ 1057 h 1868"/>
                <a:gd name="T48" fmla="*/ 1909 w 1994"/>
                <a:gd name="T49" fmla="*/ 1066 h 1868"/>
                <a:gd name="T50" fmla="*/ 1992 w 1994"/>
                <a:gd name="T51" fmla="*/ 1366 h 1868"/>
                <a:gd name="T52" fmla="*/ 1908 w 1994"/>
                <a:gd name="T53" fmla="*/ 1527 h 1868"/>
                <a:gd name="T54" fmla="*/ 1846 w 1994"/>
                <a:gd name="T55" fmla="*/ 1724 h 1868"/>
                <a:gd name="T56" fmla="*/ 977 w 1994"/>
                <a:gd name="T57" fmla="*/ 1868 h 1868"/>
                <a:gd name="T58" fmla="*/ 1099 w 1994"/>
                <a:gd name="T59" fmla="*/ 1631 h 1868"/>
                <a:gd name="T60" fmla="*/ 1007 w 1994"/>
                <a:gd name="T61" fmla="*/ 1320 h 1868"/>
                <a:gd name="T62" fmla="*/ 996 w 1994"/>
                <a:gd name="T63" fmla="*/ 1141 h 1868"/>
                <a:gd name="T64" fmla="*/ 1024 w 1994"/>
                <a:gd name="T65" fmla="*/ 1018 h 1868"/>
                <a:gd name="T66" fmla="*/ 1058 w 1994"/>
                <a:gd name="T67" fmla="*/ 843 h 1868"/>
                <a:gd name="T68" fmla="*/ 1153 w 1994"/>
                <a:gd name="T69" fmla="*/ 730 h 1868"/>
                <a:gd name="T70" fmla="*/ 1173 w 1994"/>
                <a:gd name="T71" fmla="*/ 847 h 1868"/>
                <a:gd name="T72" fmla="*/ 1216 w 1994"/>
                <a:gd name="T73" fmla="*/ 769 h 1868"/>
                <a:gd name="T74" fmla="*/ 1251 w 1994"/>
                <a:gd name="T75" fmla="*/ 648 h 1868"/>
                <a:gd name="T76" fmla="*/ 1277 w 1994"/>
                <a:gd name="T77" fmla="*/ 562 h 1868"/>
                <a:gd name="T78" fmla="*/ 1310 w 1994"/>
                <a:gd name="T79" fmla="*/ 512 h 1868"/>
                <a:gd name="T80" fmla="*/ 1296 w 1994"/>
                <a:gd name="T81" fmla="*/ 449 h 1868"/>
                <a:gd name="T82" fmla="*/ 1104 w 1994"/>
                <a:gd name="T83" fmla="*/ 468 h 1868"/>
                <a:gd name="T84" fmla="*/ 896 w 1994"/>
                <a:gd name="T85" fmla="*/ 587 h 1868"/>
                <a:gd name="T86" fmla="*/ 884 w 1994"/>
                <a:gd name="T87" fmla="*/ 527 h 1868"/>
                <a:gd name="T88" fmla="*/ 821 w 1994"/>
                <a:gd name="T89" fmla="*/ 521 h 1868"/>
                <a:gd name="T90" fmla="*/ 742 w 1994"/>
                <a:gd name="T91" fmla="*/ 701 h 1868"/>
                <a:gd name="T92" fmla="*/ 661 w 1994"/>
                <a:gd name="T93" fmla="*/ 690 h 1868"/>
                <a:gd name="T94" fmla="*/ 585 w 1994"/>
                <a:gd name="T95" fmla="*/ 559 h 1868"/>
                <a:gd name="T96" fmla="*/ 404 w 1994"/>
                <a:gd name="T97" fmla="*/ 512 h 1868"/>
                <a:gd name="T98" fmla="*/ 204 w 1994"/>
                <a:gd name="T99" fmla="*/ 448 h 1868"/>
                <a:gd name="T100" fmla="*/ 61 w 1994"/>
                <a:gd name="T101" fmla="*/ 39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94" h="1868">
                  <a:moveTo>
                    <a:pt x="0" y="353"/>
                  </a:moveTo>
                  <a:cubicBezTo>
                    <a:pt x="14" y="337"/>
                    <a:pt x="14" y="337"/>
                    <a:pt x="14" y="337"/>
                  </a:cubicBezTo>
                  <a:cubicBezTo>
                    <a:pt x="42" y="337"/>
                    <a:pt x="42" y="337"/>
                    <a:pt x="42" y="337"/>
                  </a:cubicBezTo>
                  <a:cubicBezTo>
                    <a:pt x="74" y="321"/>
                    <a:pt x="74" y="321"/>
                    <a:pt x="74" y="321"/>
                  </a:cubicBezTo>
                  <a:cubicBezTo>
                    <a:pt x="88" y="300"/>
                    <a:pt x="88" y="300"/>
                    <a:pt x="88" y="300"/>
                  </a:cubicBezTo>
                  <a:cubicBezTo>
                    <a:pt x="96" y="275"/>
                    <a:pt x="96" y="275"/>
                    <a:pt x="96" y="275"/>
                  </a:cubicBezTo>
                  <a:cubicBezTo>
                    <a:pt x="121" y="255"/>
                    <a:pt x="121" y="255"/>
                    <a:pt x="121" y="255"/>
                  </a:cubicBezTo>
                  <a:cubicBezTo>
                    <a:pt x="139" y="248"/>
                    <a:pt x="139" y="248"/>
                    <a:pt x="139" y="248"/>
                  </a:cubicBezTo>
                  <a:cubicBezTo>
                    <a:pt x="163" y="248"/>
                    <a:pt x="163" y="248"/>
                    <a:pt x="163" y="248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91" y="188"/>
                    <a:pt x="291" y="188"/>
                    <a:pt x="291" y="188"/>
                  </a:cubicBezTo>
                  <a:cubicBezTo>
                    <a:pt x="316" y="181"/>
                    <a:pt x="316" y="181"/>
                    <a:pt x="316" y="181"/>
                  </a:cubicBezTo>
                  <a:cubicBezTo>
                    <a:pt x="338" y="151"/>
                    <a:pt x="338" y="151"/>
                    <a:pt x="338" y="151"/>
                  </a:cubicBezTo>
                  <a:cubicBezTo>
                    <a:pt x="363" y="119"/>
                    <a:pt x="363" y="119"/>
                    <a:pt x="363" y="119"/>
                  </a:cubicBezTo>
                  <a:cubicBezTo>
                    <a:pt x="391" y="99"/>
                    <a:pt x="391" y="99"/>
                    <a:pt x="391" y="99"/>
                  </a:cubicBezTo>
                  <a:cubicBezTo>
                    <a:pt x="425" y="60"/>
                    <a:pt x="425" y="60"/>
                    <a:pt x="425" y="60"/>
                  </a:cubicBezTo>
                  <a:cubicBezTo>
                    <a:pt x="450" y="29"/>
                    <a:pt x="450" y="29"/>
                    <a:pt x="450" y="29"/>
                  </a:cubicBezTo>
                  <a:cubicBezTo>
                    <a:pt x="489" y="7"/>
                    <a:pt x="489" y="7"/>
                    <a:pt x="489" y="7"/>
                  </a:cubicBezTo>
                  <a:cubicBezTo>
                    <a:pt x="532" y="0"/>
                    <a:pt x="532" y="0"/>
                    <a:pt x="532" y="0"/>
                  </a:cubicBezTo>
                  <a:cubicBezTo>
                    <a:pt x="553" y="0"/>
                    <a:pt x="553" y="0"/>
                    <a:pt x="553" y="0"/>
                  </a:cubicBezTo>
                  <a:cubicBezTo>
                    <a:pt x="589" y="13"/>
                    <a:pt x="589" y="13"/>
                    <a:pt x="589" y="13"/>
                  </a:cubicBezTo>
                  <a:cubicBezTo>
                    <a:pt x="576" y="22"/>
                    <a:pt x="576" y="22"/>
                    <a:pt x="576" y="22"/>
                  </a:cubicBezTo>
                  <a:cubicBezTo>
                    <a:pt x="547" y="30"/>
                    <a:pt x="547" y="30"/>
                    <a:pt x="547" y="30"/>
                  </a:cubicBezTo>
                  <a:cubicBezTo>
                    <a:pt x="524" y="40"/>
                    <a:pt x="524" y="40"/>
                    <a:pt x="524" y="40"/>
                  </a:cubicBezTo>
                  <a:cubicBezTo>
                    <a:pt x="529" y="52"/>
                    <a:pt x="529" y="52"/>
                    <a:pt x="529" y="52"/>
                  </a:cubicBezTo>
                  <a:cubicBezTo>
                    <a:pt x="487" y="97"/>
                    <a:pt x="487" y="97"/>
                    <a:pt x="487" y="97"/>
                  </a:cubicBezTo>
                  <a:cubicBezTo>
                    <a:pt x="487" y="97"/>
                    <a:pt x="470" y="97"/>
                    <a:pt x="470" y="102"/>
                  </a:cubicBezTo>
                  <a:cubicBezTo>
                    <a:pt x="470" y="107"/>
                    <a:pt x="453" y="158"/>
                    <a:pt x="453" y="158"/>
                  </a:cubicBezTo>
                  <a:cubicBezTo>
                    <a:pt x="453" y="129"/>
                    <a:pt x="453" y="129"/>
                    <a:pt x="453" y="129"/>
                  </a:cubicBezTo>
                  <a:cubicBezTo>
                    <a:pt x="440" y="119"/>
                    <a:pt x="440" y="119"/>
                    <a:pt x="440" y="119"/>
                  </a:cubicBezTo>
                  <a:cubicBezTo>
                    <a:pt x="433" y="186"/>
                    <a:pt x="433" y="186"/>
                    <a:pt x="433" y="186"/>
                  </a:cubicBezTo>
                  <a:cubicBezTo>
                    <a:pt x="432" y="230"/>
                    <a:pt x="432" y="230"/>
                    <a:pt x="432" y="230"/>
                  </a:cubicBezTo>
                  <a:cubicBezTo>
                    <a:pt x="450" y="215"/>
                    <a:pt x="450" y="215"/>
                    <a:pt x="450" y="215"/>
                  </a:cubicBezTo>
                  <a:cubicBezTo>
                    <a:pt x="465" y="198"/>
                    <a:pt x="465" y="198"/>
                    <a:pt x="465" y="198"/>
                  </a:cubicBezTo>
                  <a:cubicBezTo>
                    <a:pt x="472" y="198"/>
                    <a:pt x="472" y="198"/>
                    <a:pt x="472" y="198"/>
                  </a:cubicBezTo>
                  <a:cubicBezTo>
                    <a:pt x="480" y="215"/>
                    <a:pt x="480" y="215"/>
                    <a:pt x="480" y="215"/>
                  </a:cubicBezTo>
                  <a:cubicBezTo>
                    <a:pt x="502" y="217"/>
                    <a:pt x="502" y="217"/>
                    <a:pt x="502" y="217"/>
                  </a:cubicBezTo>
                  <a:cubicBezTo>
                    <a:pt x="514" y="203"/>
                    <a:pt x="514" y="203"/>
                    <a:pt x="514" y="203"/>
                  </a:cubicBezTo>
                  <a:cubicBezTo>
                    <a:pt x="534" y="195"/>
                    <a:pt x="534" y="195"/>
                    <a:pt x="534" y="195"/>
                  </a:cubicBezTo>
                  <a:cubicBezTo>
                    <a:pt x="569" y="196"/>
                    <a:pt x="569" y="196"/>
                    <a:pt x="569" y="196"/>
                  </a:cubicBezTo>
                  <a:cubicBezTo>
                    <a:pt x="636" y="235"/>
                    <a:pt x="636" y="235"/>
                    <a:pt x="636" y="235"/>
                  </a:cubicBezTo>
                  <a:cubicBezTo>
                    <a:pt x="682" y="280"/>
                    <a:pt x="682" y="280"/>
                    <a:pt x="682" y="280"/>
                  </a:cubicBezTo>
                  <a:cubicBezTo>
                    <a:pt x="710" y="306"/>
                    <a:pt x="710" y="306"/>
                    <a:pt x="710" y="306"/>
                  </a:cubicBezTo>
                  <a:cubicBezTo>
                    <a:pt x="771" y="314"/>
                    <a:pt x="771" y="314"/>
                    <a:pt x="771" y="314"/>
                  </a:cubicBezTo>
                  <a:cubicBezTo>
                    <a:pt x="791" y="302"/>
                    <a:pt x="791" y="302"/>
                    <a:pt x="791" y="302"/>
                  </a:cubicBezTo>
                  <a:cubicBezTo>
                    <a:pt x="838" y="319"/>
                    <a:pt x="838" y="319"/>
                    <a:pt x="838" y="319"/>
                  </a:cubicBezTo>
                  <a:cubicBezTo>
                    <a:pt x="885" y="329"/>
                    <a:pt x="885" y="329"/>
                    <a:pt x="885" y="329"/>
                  </a:cubicBezTo>
                  <a:cubicBezTo>
                    <a:pt x="903" y="304"/>
                    <a:pt x="903" y="304"/>
                    <a:pt x="903" y="304"/>
                  </a:cubicBezTo>
                  <a:cubicBezTo>
                    <a:pt x="940" y="267"/>
                    <a:pt x="940" y="267"/>
                    <a:pt x="940" y="267"/>
                  </a:cubicBezTo>
                  <a:cubicBezTo>
                    <a:pt x="967" y="243"/>
                    <a:pt x="967" y="243"/>
                    <a:pt x="967" y="243"/>
                  </a:cubicBezTo>
                  <a:cubicBezTo>
                    <a:pt x="1026" y="228"/>
                    <a:pt x="1026" y="228"/>
                    <a:pt x="1026" y="228"/>
                  </a:cubicBezTo>
                  <a:cubicBezTo>
                    <a:pt x="1066" y="217"/>
                    <a:pt x="1066" y="217"/>
                    <a:pt x="1066" y="217"/>
                  </a:cubicBezTo>
                  <a:cubicBezTo>
                    <a:pt x="1111" y="217"/>
                    <a:pt x="1111" y="217"/>
                    <a:pt x="1111" y="217"/>
                  </a:cubicBezTo>
                  <a:cubicBezTo>
                    <a:pt x="1172" y="195"/>
                    <a:pt x="1172" y="195"/>
                    <a:pt x="1172" y="195"/>
                  </a:cubicBezTo>
                  <a:cubicBezTo>
                    <a:pt x="1217" y="176"/>
                    <a:pt x="1217" y="176"/>
                    <a:pt x="1217" y="176"/>
                  </a:cubicBezTo>
                  <a:cubicBezTo>
                    <a:pt x="1237" y="190"/>
                    <a:pt x="1237" y="190"/>
                    <a:pt x="1237" y="190"/>
                  </a:cubicBezTo>
                  <a:cubicBezTo>
                    <a:pt x="1246" y="250"/>
                    <a:pt x="1246" y="250"/>
                    <a:pt x="1246" y="250"/>
                  </a:cubicBezTo>
                  <a:cubicBezTo>
                    <a:pt x="1328" y="262"/>
                    <a:pt x="1328" y="262"/>
                    <a:pt x="1328" y="262"/>
                  </a:cubicBezTo>
                  <a:cubicBezTo>
                    <a:pt x="1372" y="259"/>
                    <a:pt x="1372" y="259"/>
                    <a:pt x="1372" y="259"/>
                  </a:cubicBezTo>
                  <a:cubicBezTo>
                    <a:pt x="1409" y="272"/>
                    <a:pt x="1409" y="272"/>
                    <a:pt x="1409" y="272"/>
                  </a:cubicBezTo>
                  <a:cubicBezTo>
                    <a:pt x="1437" y="300"/>
                    <a:pt x="1437" y="300"/>
                    <a:pt x="1437" y="300"/>
                  </a:cubicBezTo>
                  <a:cubicBezTo>
                    <a:pt x="1477" y="353"/>
                    <a:pt x="1477" y="353"/>
                    <a:pt x="1477" y="353"/>
                  </a:cubicBezTo>
                  <a:cubicBezTo>
                    <a:pt x="1493" y="369"/>
                    <a:pt x="1493" y="369"/>
                    <a:pt x="1493" y="369"/>
                  </a:cubicBezTo>
                  <a:cubicBezTo>
                    <a:pt x="1493" y="369"/>
                    <a:pt x="1496" y="373"/>
                    <a:pt x="1503" y="381"/>
                  </a:cubicBezTo>
                  <a:cubicBezTo>
                    <a:pt x="1509" y="389"/>
                    <a:pt x="1521" y="398"/>
                    <a:pt x="1521" y="398"/>
                  </a:cubicBezTo>
                  <a:cubicBezTo>
                    <a:pt x="1553" y="405"/>
                    <a:pt x="1553" y="405"/>
                    <a:pt x="1553" y="405"/>
                  </a:cubicBezTo>
                  <a:cubicBezTo>
                    <a:pt x="1553" y="405"/>
                    <a:pt x="1565" y="396"/>
                    <a:pt x="1566" y="391"/>
                  </a:cubicBezTo>
                  <a:cubicBezTo>
                    <a:pt x="1568" y="386"/>
                    <a:pt x="1597" y="374"/>
                    <a:pt x="1597" y="374"/>
                  </a:cubicBezTo>
                  <a:cubicBezTo>
                    <a:pt x="1612" y="389"/>
                    <a:pt x="1612" y="389"/>
                    <a:pt x="1612" y="389"/>
                  </a:cubicBezTo>
                  <a:cubicBezTo>
                    <a:pt x="1612" y="389"/>
                    <a:pt x="1622" y="396"/>
                    <a:pt x="1612" y="400"/>
                  </a:cubicBezTo>
                  <a:cubicBezTo>
                    <a:pt x="1602" y="403"/>
                    <a:pt x="1597" y="415"/>
                    <a:pt x="1587" y="415"/>
                  </a:cubicBezTo>
                  <a:cubicBezTo>
                    <a:pt x="1576" y="415"/>
                    <a:pt x="1561" y="415"/>
                    <a:pt x="1561" y="415"/>
                  </a:cubicBezTo>
                  <a:cubicBezTo>
                    <a:pt x="1531" y="415"/>
                    <a:pt x="1531" y="415"/>
                    <a:pt x="1531" y="415"/>
                  </a:cubicBezTo>
                  <a:cubicBezTo>
                    <a:pt x="1519" y="426"/>
                    <a:pt x="1519" y="426"/>
                    <a:pt x="1519" y="426"/>
                  </a:cubicBezTo>
                  <a:cubicBezTo>
                    <a:pt x="1442" y="426"/>
                    <a:pt x="1442" y="426"/>
                    <a:pt x="1442" y="426"/>
                  </a:cubicBezTo>
                  <a:cubicBezTo>
                    <a:pt x="1425" y="435"/>
                    <a:pt x="1425" y="435"/>
                    <a:pt x="1425" y="435"/>
                  </a:cubicBezTo>
                  <a:cubicBezTo>
                    <a:pt x="1397" y="420"/>
                    <a:pt x="1397" y="420"/>
                    <a:pt x="1397" y="420"/>
                  </a:cubicBezTo>
                  <a:cubicBezTo>
                    <a:pt x="1368" y="410"/>
                    <a:pt x="1368" y="410"/>
                    <a:pt x="1368" y="410"/>
                  </a:cubicBezTo>
                  <a:cubicBezTo>
                    <a:pt x="1340" y="442"/>
                    <a:pt x="1340" y="442"/>
                    <a:pt x="1340" y="442"/>
                  </a:cubicBezTo>
                  <a:cubicBezTo>
                    <a:pt x="1343" y="465"/>
                    <a:pt x="1343" y="465"/>
                    <a:pt x="1343" y="465"/>
                  </a:cubicBezTo>
                  <a:cubicBezTo>
                    <a:pt x="1346" y="475"/>
                    <a:pt x="1346" y="475"/>
                    <a:pt x="1346" y="475"/>
                  </a:cubicBezTo>
                  <a:cubicBezTo>
                    <a:pt x="1346" y="475"/>
                    <a:pt x="1347" y="489"/>
                    <a:pt x="1350" y="491"/>
                  </a:cubicBezTo>
                  <a:cubicBezTo>
                    <a:pt x="1353" y="494"/>
                    <a:pt x="1357" y="501"/>
                    <a:pt x="1357" y="501"/>
                  </a:cubicBezTo>
                  <a:cubicBezTo>
                    <a:pt x="1393" y="513"/>
                    <a:pt x="1393" y="513"/>
                    <a:pt x="1393" y="513"/>
                  </a:cubicBezTo>
                  <a:cubicBezTo>
                    <a:pt x="1405" y="500"/>
                    <a:pt x="1405" y="500"/>
                    <a:pt x="1405" y="500"/>
                  </a:cubicBezTo>
                  <a:cubicBezTo>
                    <a:pt x="1405" y="500"/>
                    <a:pt x="1391" y="483"/>
                    <a:pt x="1395" y="483"/>
                  </a:cubicBezTo>
                  <a:cubicBezTo>
                    <a:pt x="1399" y="483"/>
                    <a:pt x="1427" y="496"/>
                    <a:pt x="1427" y="496"/>
                  </a:cubicBezTo>
                  <a:cubicBezTo>
                    <a:pt x="1427" y="496"/>
                    <a:pt x="1425" y="511"/>
                    <a:pt x="1422" y="513"/>
                  </a:cubicBezTo>
                  <a:cubicBezTo>
                    <a:pt x="1418" y="515"/>
                    <a:pt x="1415" y="520"/>
                    <a:pt x="1418" y="521"/>
                  </a:cubicBezTo>
                  <a:cubicBezTo>
                    <a:pt x="1422" y="522"/>
                    <a:pt x="1454" y="532"/>
                    <a:pt x="1460" y="532"/>
                  </a:cubicBezTo>
                  <a:cubicBezTo>
                    <a:pt x="1466" y="532"/>
                    <a:pt x="1487" y="543"/>
                    <a:pt x="1487" y="543"/>
                  </a:cubicBezTo>
                  <a:cubicBezTo>
                    <a:pt x="1520" y="569"/>
                    <a:pt x="1520" y="569"/>
                    <a:pt x="1520" y="569"/>
                  </a:cubicBezTo>
                  <a:cubicBezTo>
                    <a:pt x="1567" y="589"/>
                    <a:pt x="1567" y="589"/>
                    <a:pt x="1567" y="589"/>
                  </a:cubicBezTo>
                  <a:cubicBezTo>
                    <a:pt x="1621" y="609"/>
                    <a:pt x="1621" y="609"/>
                    <a:pt x="1621" y="609"/>
                  </a:cubicBezTo>
                  <a:cubicBezTo>
                    <a:pt x="1677" y="663"/>
                    <a:pt x="1677" y="663"/>
                    <a:pt x="1677" y="663"/>
                  </a:cubicBezTo>
                  <a:cubicBezTo>
                    <a:pt x="1706" y="697"/>
                    <a:pt x="1706" y="697"/>
                    <a:pt x="1706" y="697"/>
                  </a:cubicBezTo>
                  <a:cubicBezTo>
                    <a:pt x="1691" y="716"/>
                    <a:pt x="1691" y="716"/>
                    <a:pt x="1691" y="716"/>
                  </a:cubicBezTo>
                  <a:cubicBezTo>
                    <a:pt x="1691" y="716"/>
                    <a:pt x="1685" y="715"/>
                    <a:pt x="1687" y="721"/>
                  </a:cubicBezTo>
                  <a:cubicBezTo>
                    <a:pt x="1689" y="727"/>
                    <a:pt x="1709" y="752"/>
                    <a:pt x="1706" y="755"/>
                  </a:cubicBezTo>
                  <a:cubicBezTo>
                    <a:pt x="1703" y="758"/>
                    <a:pt x="1714" y="780"/>
                    <a:pt x="1714" y="780"/>
                  </a:cubicBezTo>
                  <a:cubicBezTo>
                    <a:pt x="1725" y="856"/>
                    <a:pt x="1725" y="856"/>
                    <a:pt x="1725" y="856"/>
                  </a:cubicBezTo>
                  <a:cubicBezTo>
                    <a:pt x="1734" y="900"/>
                    <a:pt x="1734" y="900"/>
                    <a:pt x="1734" y="900"/>
                  </a:cubicBezTo>
                  <a:cubicBezTo>
                    <a:pt x="1725" y="939"/>
                    <a:pt x="1725" y="939"/>
                    <a:pt x="1725" y="939"/>
                  </a:cubicBezTo>
                  <a:cubicBezTo>
                    <a:pt x="1697" y="973"/>
                    <a:pt x="1697" y="973"/>
                    <a:pt x="1697" y="973"/>
                  </a:cubicBezTo>
                  <a:cubicBezTo>
                    <a:pt x="1678" y="1020"/>
                    <a:pt x="1678" y="1020"/>
                    <a:pt x="1678" y="1020"/>
                  </a:cubicBezTo>
                  <a:cubicBezTo>
                    <a:pt x="1678" y="1020"/>
                    <a:pt x="1662" y="1048"/>
                    <a:pt x="1660" y="1051"/>
                  </a:cubicBezTo>
                  <a:cubicBezTo>
                    <a:pt x="1658" y="1055"/>
                    <a:pt x="1627" y="1074"/>
                    <a:pt x="1628" y="1077"/>
                  </a:cubicBezTo>
                  <a:cubicBezTo>
                    <a:pt x="1629" y="1080"/>
                    <a:pt x="1618" y="1110"/>
                    <a:pt x="1618" y="1110"/>
                  </a:cubicBezTo>
                  <a:cubicBezTo>
                    <a:pt x="1619" y="1160"/>
                    <a:pt x="1619" y="1160"/>
                    <a:pt x="1619" y="1160"/>
                  </a:cubicBezTo>
                  <a:cubicBezTo>
                    <a:pt x="1630" y="1180"/>
                    <a:pt x="1630" y="1180"/>
                    <a:pt x="1630" y="1180"/>
                  </a:cubicBezTo>
                  <a:cubicBezTo>
                    <a:pt x="1667" y="1189"/>
                    <a:pt x="1667" y="1189"/>
                    <a:pt x="1667" y="1189"/>
                  </a:cubicBezTo>
                  <a:cubicBezTo>
                    <a:pt x="1681" y="1176"/>
                    <a:pt x="1681" y="1176"/>
                    <a:pt x="1681" y="1176"/>
                  </a:cubicBezTo>
                  <a:cubicBezTo>
                    <a:pt x="1681" y="1176"/>
                    <a:pt x="1692" y="1167"/>
                    <a:pt x="1694" y="1164"/>
                  </a:cubicBezTo>
                  <a:cubicBezTo>
                    <a:pt x="1696" y="1161"/>
                    <a:pt x="1706" y="1152"/>
                    <a:pt x="1706" y="1152"/>
                  </a:cubicBezTo>
                  <a:cubicBezTo>
                    <a:pt x="1706" y="1152"/>
                    <a:pt x="1724" y="1138"/>
                    <a:pt x="1724" y="1135"/>
                  </a:cubicBezTo>
                  <a:cubicBezTo>
                    <a:pt x="1724" y="1132"/>
                    <a:pt x="1725" y="1118"/>
                    <a:pt x="1726" y="1114"/>
                  </a:cubicBezTo>
                  <a:cubicBezTo>
                    <a:pt x="1727" y="1111"/>
                    <a:pt x="1734" y="1090"/>
                    <a:pt x="1734" y="1090"/>
                  </a:cubicBezTo>
                  <a:cubicBezTo>
                    <a:pt x="1734" y="1090"/>
                    <a:pt x="1745" y="1082"/>
                    <a:pt x="1747" y="1078"/>
                  </a:cubicBezTo>
                  <a:cubicBezTo>
                    <a:pt x="1749" y="1074"/>
                    <a:pt x="1770" y="1057"/>
                    <a:pt x="1770" y="1057"/>
                  </a:cubicBezTo>
                  <a:cubicBezTo>
                    <a:pt x="1770" y="1057"/>
                    <a:pt x="1794" y="1038"/>
                    <a:pt x="1798" y="1038"/>
                  </a:cubicBezTo>
                  <a:cubicBezTo>
                    <a:pt x="1801" y="1038"/>
                    <a:pt x="1820" y="1020"/>
                    <a:pt x="1820" y="1020"/>
                  </a:cubicBezTo>
                  <a:cubicBezTo>
                    <a:pt x="1840" y="1014"/>
                    <a:pt x="1840" y="1014"/>
                    <a:pt x="1840" y="1014"/>
                  </a:cubicBezTo>
                  <a:cubicBezTo>
                    <a:pt x="1868" y="1025"/>
                    <a:pt x="1868" y="1025"/>
                    <a:pt x="1868" y="1025"/>
                  </a:cubicBezTo>
                  <a:cubicBezTo>
                    <a:pt x="1909" y="1066"/>
                    <a:pt x="1909" y="1066"/>
                    <a:pt x="1909" y="1066"/>
                  </a:cubicBezTo>
                  <a:cubicBezTo>
                    <a:pt x="1935" y="1125"/>
                    <a:pt x="1935" y="1125"/>
                    <a:pt x="1935" y="1125"/>
                  </a:cubicBezTo>
                  <a:cubicBezTo>
                    <a:pt x="1963" y="1275"/>
                    <a:pt x="1963" y="1275"/>
                    <a:pt x="1963" y="1275"/>
                  </a:cubicBezTo>
                  <a:cubicBezTo>
                    <a:pt x="1987" y="1306"/>
                    <a:pt x="1987" y="1306"/>
                    <a:pt x="1987" y="1306"/>
                  </a:cubicBezTo>
                  <a:cubicBezTo>
                    <a:pt x="1987" y="1333"/>
                    <a:pt x="1987" y="1333"/>
                    <a:pt x="1987" y="1333"/>
                  </a:cubicBezTo>
                  <a:cubicBezTo>
                    <a:pt x="1987" y="1333"/>
                    <a:pt x="1990" y="1357"/>
                    <a:pt x="1992" y="1366"/>
                  </a:cubicBezTo>
                  <a:cubicBezTo>
                    <a:pt x="1994" y="1374"/>
                    <a:pt x="1992" y="1472"/>
                    <a:pt x="1992" y="1472"/>
                  </a:cubicBezTo>
                  <a:cubicBezTo>
                    <a:pt x="1942" y="1472"/>
                    <a:pt x="1942" y="1472"/>
                    <a:pt x="1942" y="1472"/>
                  </a:cubicBezTo>
                  <a:cubicBezTo>
                    <a:pt x="1931" y="1472"/>
                    <a:pt x="1931" y="1472"/>
                    <a:pt x="1931" y="1472"/>
                  </a:cubicBezTo>
                  <a:cubicBezTo>
                    <a:pt x="1930" y="1492"/>
                    <a:pt x="1930" y="1492"/>
                    <a:pt x="1930" y="1492"/>
                  </a:cubicBezTo>
                  <a:cubicBezTo>
                    <a:pt x="1908" y="1527"/>
                    <a:pt x="1908" y="1527"/>
                    <a:pt x="1908" y="1527"/>
                  </a:cubicBezTo>
                  <a:cubicBezTo>
                    <a:pt x="1904" y="1558"/>
                    <a:pt x="1904" y="1558"/>
                    <a:pt x="1904" y="1558"/>
                  </a:cubicBezTo>
                  <a:cubicBezTo>
                    <a:pt x="1889" y="1583"/>
                    <a:pt x="1889" y="1583"/>
                    <a:pt x="1889" y="1583"/>
                  </a:cubicBezTo>
                  <a:cubicBezTo>
                    <a:pt x="1862" y="1613"/>
                    <a:pt x="1862" y="1613"/>
                    <a:pt x="1862" y="1613"/>
                  </a:cubicBezTo>
                  <a:cubicBezTo>
                    <a:pt x="1844" y="1681"/>
                    <a:pt x="1844" y="1681"/>
                    <a:pt x="1844" y="1681"/>
                  </a:cubicBezTo>
                  <a:cubicBezTo>
                    <a:pt x="1846" y="1724"/>
                    <a:pt x="1846" y="1724"/>
                    <a:pt x="1846" y="1724"/>
                  </a:cubicBezTo>
                  <a:cubicBezTo>
                    <a:pt x="1820" y="1757"/>
                    <a:pt x="1820" y="1757"/>
                    <a:pt x="1820" y="1757"/>
                  </a:cubicBezTo>
                  <a:cubicBezTo>
                    <a:pt x="1798" y="1797"/>
                    <a:pt x="1798" y="1797"/>
                    <a:pt x="1798" y="1797"/>
                  </a:cubicBezTo>
                  <a:cubicBezTo>
                    <a:pt x="1479" y="1850"/>
                    <a:pt x="1479" y="1850"/>
                    <a:pt x="1479" y="1850"/>
                  </a:cubicBezTo>
                  <a:cubicBezTo>
                    <a:pt x="1471" y="1835"/>
                    <a:pt x="1471" y="1835"/>
                    <a:pt x="1471" y="1835"/>
                  </a:cubicBezTo>
                  <a:cubicBezTo>
                    <a:pt x="977" y="1868"/>
                    <a:pt x="977" y="1868"/>
                    <a:pt x="977" y="1868"/>
                  </a:cubicBezTo>
                  <a:cubicBezTo>
                    <a:pt x="1011" y="1836"/>
                    <a:pt x="1011" y="1836"/>
                    <a:pt x="1011" y="1836"/>
                  </a:cubicBezTo>
                  <a:cubicBezTo>
                    <a:pt x="1026" y="1808"/>
                    <a:pt x="1026" y="1808"/>
                    <a:pt x="1026" y="1808"/>
                  </a:cubicBezTo>
                  <a:cubicBezTo>
                    <a:pt x="1054" y="1757"/>
                    <a:pt x="1054" y="1757"/>
                    <a:pt x="1054" y="1757"/>
                  </a:cubicBezTo>
                  <a:cubicBezTo>
                    <a:pt x="1082" y="1695"/>
                    <a:pt x="1082" y="1695"/>
                    <a:pt x="1082" y="1695"/>
                  </a:cubicBezTo>
                  <a:cubicBezTo>
                    <a:pt x="1099" y="1631"/>
                    <a:pt x="1099" y="1631"/>
                    <a:pt x="1099" y="1631"/>
                  </a:cubicBezTo>
                  <a:cubicBezTo>
                    <a:pt x="1091" y="1505"/>
                    <a:pt x="1091" y="1505"/>
                    <a:pt x="1091" y="1505"/>
                  </a:cubicBezTo>
                  <a:cubicBezTo>
                    <a:pt x="1087" y="1449"/>
                    <a:pt x="1087" y="1449"/>
                    <a:pt x="1087" y="1449"/>
                  </a:cubicBezTo>
                  <a:cubicBezTo>
                    <a:pt x="1065" y="1404"/>
                    <a:pt x="1065" y="1404"/>
                    <a:pt x="1065" y="1404"/>
                  </a:cubicBezTo>
                  <a:cubicBezTo>
                    <a:pt x="1033" y="1350"/>
                    <a:pt x="1033" y="1350"/>
                    <a:pt x="1033" y="1350"/>
                  </a:cubicBezTo>
                  <a:cubicBezTo>
                    <a:pt x="1007" y="1320"/>
                    <a:pt x="1007" y="1320"/>
                    <a:pt x="1007" y="1320"/>
                  </a:cubicBezTo>
                  <a:cubicBezTo>
                    <a:pt x="985" y="1274"/>
                    <a:pt x="985" y="1274"/>
                    <a:pt x="985" y="1274"/>
                  </a:cubicBezTo>
                  <a:cubicBezTo>
                    <a:pt x="996" y="1242"/>
                    <a:pt x="996" y="1242"/>
                    <a:pt x="996" y="1242"/>
                  </a:cubicBezTo>
                  <a:cubicBezTo>
                    <a:pt x="1015" y="1223"/>
                    <a:pt x="1015" y="1223"/>
                    <a:pt x="1015" y="1223"/>
                  </a:cubicBezTo>
                  <a:cubicBezTo>
                    <a:pt x="1015" y="1195"/>
                    <a:pt x="1015" y="1195"/>
                    <a:pt x="1015" y="1195"/>
                  </a:cubicBezTo>
                  <a:cubicBezTo>
                    <a:pt x="996" y="1141"/>
                    <a:pt x="996" y="1141"/>
                    <a:pt x="996" y="1141"/>
                  </a:cubicBezTo>
                  <a:cubicBezTo>
                    <a:pt x="979" y="1121"/>
                    <a:pt x="979" y="1121"/>
                    <a:pt x="979" y="1121"/>
                  </a:cubicBezTo>
                  <a:cubicBezTo>
                    <a:pt x="996" y="1108"/>
                    <a:pt x="996" y="1108"/>
                    <a:pt x="996" y="1108"/>
                  </a:cubicBezTo>
                  <a:cubicBezTo>
                    <a:pt x="1007" y="1076"/>
                    <a:pt x="1007" y="1076"/>
                    <a:pt x="1007" y="1076"/>
                  </a:cubicBezTo>
                  <a:cubicBezTo>
                    <a:pt x="1015" y="1041"/>
                    <a:pt x="1015" y="1041"/>
                    <a:pt x="1015" y="1041"/>
                  </a:cubicBezTo>
                  <a:cubicBezTo>
                    <a:pt x="1024" y="1018"/>
                    <a:pt x="1024" y="1018"/>
                    <a:pt x="1024" y="1018"/>
                  </a:cubicBezTo>
                  <a:cubicBezTo>
                    <a:pt x="1026" y="959"/>
                    <a:pt x="1026" y="959"/>
                    <a:pt x="1026" y="959"/>
                  </a:cubicBezTo>
                  <a:cubicBezTo>
                    <a:pt x="1017" y="934"/>
                    <a:pt x="1017" y="934"/>
                    <a:pt x="1017" y="934"/>
                  </a:cubicBezTo>
                  <a:cubicBezTo>
                    <a:pt x="1026" y="899"/>
                    <a:pt x="1026" y="899"/>
                    <a:pt x="1026" y="899"/>
                  </a:cubicBezTo>
                  <a:cubicBezTo>
                    <a:pt x="1048" y="871"/>
                    <a:pt x="1048" y="871"/>
                    <a:pt x="1048" y="871"/>
                  </a:cubicBezTo>
                  <a:cubicBezTo>
                    <a:pt x="1058" y="843"/>
                    <a:pt x="1058" y="843"/>
                    <a:pt x="1058" y="843"/>
                  </a:cubicBezTo>
                  <a:cubicBezTo>
                    <a:pt x="1061" y="808"/>
                    <a:pt x="1061" y="808"/>
                    <a:pt x="1061" y="808"/>
                  </a:cubicBezTo>
                  <a:cubicBezTo>
                    <a:pt x="1091" y="804"/>
                    <a:pt x="1091" y="804"/>
                    <a:pt x="1091" y="804"/>
                  </a:cubicBezTo>
                  <a:cubicBezTo>
                    <a:pt x="1132" y="806"/>
                    <a:pt x="1132" y="806"/>
                    <a:pt x="1132" y="806"/>
                  </a:cubicBezTo>
                  <a:cubicBezTo>
                    <a:pt x="1147" y="750"/>
                    <a:pt x="1147" y="750"/>
                    <a:pt x="1147" y="750"/>
                  </a:cubicBezTo>
                  <a:cubicBezTo>
                    <a:pt x="1153" y="730"/>
                    <a:pt x="1153" y="730"/>
                    <a:pt x="1153" y="730"/>
                  </a:cubicBezTo>
                  <a:cubicBezTo>
                    <a:pt x="1169" y="726"/>
                    <a:pt x="1169" y="726"/>
                    <a:pt x="1169" y="726"/>
                  </a:cubicBezTo>
                  <a:cubicBezTo>
                    <a:pt x="1184" y="791"/>
                    <a:pt x="1184" y="791"/>
                    <a:pt x="1184" y="791"/>
                  </a:cubicBezTo>
                  <a:cubicBezTo>
                    <a:pt x="1156" y="823"/>
                    <a:pt x="1156" y="823"/>
                    <a:pt x="1156" y="823"/>
                  </a:cubicBezTo>
                  <a:cubicBezTo>
                    <a:pt x="1162" y="836"/>
                    <a:pt x="1162" y="836"/>
                    <a:pt x="1162" y="836"/>
                  </a:cubicBezTo>
                  <a:cubicBezTo>
                    <a:pt x="1162" y="836"/>
                    <a:pt x="1166" y="847"/>
                    <a:pt x="1173" y="847"/>
                  </a:cubicBezTo>
                  <a:cubicBezTo>
                    <a:pt x="1179" y="847"/>
                    <a:pt x="1179" y="847"/>
                    <a:pt x="1179" y="847"/>
                  </a:cubicBezTo>
                  <a:cubicBezTo>
                    <a:pt x="1179" y="847"/>
                    <a:pt x="1192" y="840"/>
                    <a:pt x="1194" y="834"/>
                  </a:cubicBezTo>
                  <a:cubicBezTo>
                    <a:pt x="1197" y="828"/>
                    <a:pt x="1201" y="812"/>
                    <a:pt x="1201" y="812"/>
                  </a:cubicBezTo>
                  <a:cubicBezTo>
                    <a:pt x="1210" y="802"/>
                    <a:pt x="1210" y="802"/>
                    <a:pt x="1210" y="802"/>
                  </a:cubicBezTo>
                  <a:cubicBezTo>
                    <a:pt x="1216" y="769"/>
                    <a:pt x="1216" y="769"/>
                    <a:pt x="1216" y="769"/>
                  </a:cubicBezTo>
                  <a:cubicBezTo>
                    <a:pt x="1212" y="745"/>
                    <a:pt x="1212" y="745"/>
                    <a:pt x="1212" y="745"/>
                  </a:cubicBezTo>
                  <a:cubicBezTo>
                    <a:pt x="1214" y="722"/>
                    <a:pt x="1214" y="722"/>
                    <a:pt x="1214" y="722"/>
                  </a:cubicBezTo>
                  <a:cubicBezTo>
                    <a:pt x="1214" y="689"/>
                    <a:pt x="1214" y="689"/>
                    <a:pt x="1214" y="689"/>
                  </a:cubicBezTo>
                  <a:cubicBezTo>
                    <a:pt x="1238" y="661"/>
                    <a:pt x="1238" y="661"/>
                    <a:pt x="1238" y="661"/>
                  </a:cubicBezTo>
                  <a:cubicBezTo>
                    <a:pt x="1251" y="648"/>
                    <a:pt x="1251" y="648"/>
                    <a:pt x="1251" y="648"/>
                  </a:cubicBezTo>
                  <a:cubicBezTo>
                    <a:pt x="1285" y="642"/>
                    <a:pt x="1285" y="642"/>
                    <a:pt x="1285" y="642"/>
                  </a:cubicBezTo>
                  <a:cubicBezTo>
                    <a:pt x="1298" y="627"/>
                    <a:pt x="1298" y="627"/>
                    <a:pt x="1298" y="627"/>
                  </a:cubicBezTo>
                  <a:cubicBezTo>
                    <a:pt x="1270" y="603"/>
                    <a:pt x="1270" y="603"/>
                    <a:pt x="1270" y="603"/>
                  </a:cubicBezTo>
                  <a:cubicBezTo>
                    <a:pt x="1261" y="584"/>
                    <a:pt x="1261" y="584"/>
                    <a:pt x="1261" y="584"/>
                  </a:cubicBezTo>
                  <a:cubicBezTo>
                    <a:pt x="1277" y="562"/>
                    <a:pt x="1277" y="562"/>
                    <a:pt x="1277" y="562"/>
                  </a:cubicBezTo>
                  <a:cubicBezTo>
                    <a:pt x="1294" y="542"/>
                    <a:pt x="1294" y="542"/>
                    <a:pt x="1294" y="542"/>
                  </a:cubicBezTo>
                  <a:cubicBezTo>
                    <a:pt x="1301" y="533"/>
                    <a:pt x="1301" y="533"/>
                    <a:pt x="1301" y="533"/>
                  </a:cubicBezTo>
                  <a:cubicBezTo>
                    <a:pt x="1298" y="518"/>
                    <a:pt x="1298" y="518"/>
                    <a:pt x="1298" y="518"/>
                  </a:cubicBezTo>
                  <a:cubicBezTo>
                    <a:pt x="1301" y="514"/>
                    <a:pt x="1301" y="514"/>
                    <a:pt x="1301" y="514"/>
                  </a:cubicBezTo>
                  <a:cubicBezTo>
                    <a:pt x="1301" y="514"/>
                    <a:pt x="1308" y="512"/>
                    <a:pt x="1310" y="512"/>
                  </a:cubicBezTo>
                  <a:cubicBezTo>
                    <a:pt x="1311" y="512"/>
                    <a:pt x="1340" y="507"/>
                    <a:pt x="1340" y="507"/>
                  </a:cubicBezTo>
                  <a:cubicBezTo>
                    <a:pt x="1352" y="504"/>
                    <a:pt x="1352" y="504"/>
                    <a:pt x="1352" y="504"/>
                  </a:cubicBezTo>
                  <a:cubicBezTo>
                    <a:pt x="1339" y="481"/>
                    <a:pt x="1339" y="481"/>
                    <a:pt x="1339" y="481"/>
                  </a:cubicBezTo>
                  <a:cubicBezTo>
                    <a:pt x="1314" y="466"/>
                    <a:pt x="1314" y="466"/>
                    <a:pt x="1314" y="466"/>
                  </a:cubicBezTo>
                  <a:cubicBezTo>
                    <a:pt x="1296" y="449"/>
                    <a:pt x="1296" y="449"/>
                    <a:pt x="1296" y="449"/>
                  </a:cubicBezTo>
                  <a:cubicBezTo>
                    <a:pt x="1274" y="435"/>
                    <a:pt x="1274" y="435"/>
                    <a:pt x="1274" y="435"/>
                  </a:cubicBezTo>
                  <a:cubicBezTo>
                    <a:pt x="1243" y="422"/>
                    <a:pt x="1243" y="422"/>
                    <a:pt x="1243" y="422"/>
                  </a:cubicBezTo>
                  <a:cubicBezTo>
                    <a:pt x="1180" y="417"/>
                    <a:pt x="1180" y="417"/>
                    <a:pt x="1180" y="417"/>
                  </a:cubicBezTo>
                  <a:cubicBezTo>
                    <a:pt x="1134" y="446"/>
                    <a:pt x="1134" y="446"/>
                    <a:pt x="1134" y="446"/>
                  </a:cubicBezTo>
                  <a:cubicBezTo>
                    <a:pt x="1104" y="468"/>
                    <a:pt x="1104" y="468"/>
                    <a:pt x="1104" y="468"/>
                  </a:cubicBezTo>
                  <a:cubicBezTo>
                    <a:pt x="1058" y="476"/>
                    <a:pt x="1058" y="476"/>
                    <a:pt x="1058" y="476"/>
                  </a:cubicBezTo>
                  <a:cubicBezTo>
                    <a:pt x="996" y="479"/>
                    <a:pt x="996" y="479"/>
                    <a:pt x="996" y="479"/>
                  </a:cubicBezTo>
                  <a:cubicBezTo>
                    <a:pt x="970" y="500"/>
                    <a:pt x="970" y="500"/>
                    <a:pt x="970" y="500"/>
                  </a:cubicBezTo>
                  <a:cubicBezTo>
                    <a:pt x="938" y="557"/>
                    <a:pt x="938" y="557"/>
                    <a:pt x="938" y="557"/>
                  </a:cubicBezTo>
                  <a:cubicBezTo>
                    <a:pt x="896" y="587"/>
                    <a:pt x="896" y="587"/>
                    <a:pt x="896" y="587"/>
                  </a:cubicBezTo>
                  <a:cubicBezTo>
                    <a:pt x="888" y="581"/>
                    <a:pt x="888" y="581"/>
                    <a:pt x="888" y="581"/>
                  </a:cubicBezTo>
                  <a:cubicBezTo>
                    <a:pt x="901" y="555"/>
                    <a:pt x="901" y="555"/>
                    <a:pt x="901" y="555"/>
                  </a:cubicBezTo>
                  <a:cubicBezTo>
                    <a:pt x="922" y="529"/>
                    <a:pt x="922" y="529"/>
                    <a:pt x="922" y="529"/>
                  </a:cubicBezTo>
                  <a:cubicBezTo>
                    <a:pt x="909" y="508"/>
                    <a:pt x="909" y="508"/>
                    <a:pt x="909" y="508"/>
                  </a:cubicBezTo>
                  <a:cubicBezTo>
                    <a:pt x="884" y="527"/>
                    <a:pt x="884" y="527"/>
                    <a:pt x="884" y="527"/>
                  </a:cubicBezTo>
                  <a:cubicBezTo>
                    <a:pt x="871" y="531"/>
                    <a:pt x="871" y="531"/>
                    <a:pt x="871" y="531"/>
                  </a:cubicBezTo>
                  <a:cubicBezTo>
                    <a:pt x="856" y="557"/>
                    <a:pt x="856" y="557"/>
                    <a:pt x="856" y="557"/>
                  </a:cubicBezTo>
                  <a:cubicBezTo>
                    <a:pt x="840" y="569"/>
                    <a:pt x="840" y="569"/>
                    <a:pt x="840" y="569"/>
                  </a:cubicBezTo>
                  <a:cubicBezTo>
                    <a:pt x="834" y="569"/>
                    <a:pt x="834" y="569"/>
                    <a:pt x="834" y="569"/>
                  </a:cubicBezTo>
                  <a:cubicBezTo>
                    <a:pt x="821" y="521"/>
                    <a:pt x="821" y="521"/>
                    <a:pt x="821" y="521"/>
                  </a:cubicBezTo>
                  <a:cubicBezTo>
                    <a:pt x="815" y="517"/>
                    <a:pt x="815" y="517"/>
                    <a:pt x="815" y="517"/>
                  </a:cubicBezTo>
                  <a:cubicBezTo>
                    <a:pt x="795" y="559"/>
                    <a:pt x="795" y="559"/>
                    <a:pt x="795" y="559"/>
                  </a:cubicBezTo>
                  <a:cubicBezTo>
                    <a:pt x="790" y="588"/>
                    <a:pt x="790" y="588"/>
                    <a:pt x="790" y="588"/>
                  </a:cubicBezTo>
                  <a:cubicBezTo>
                    <a:pt x="763" y="626"/>
                    <a:pt x="763" y="626"/>
                    <a:pt x="763" y="626"/>
                  </a:cubicBezTo>
                  <a:cubicBezTo>
                    <a:pt x="742" y="701"/>
                    <a:pt x="742" y="701"/>
                    <a:pt x="742" y="701"/>
                  </a:cubicBezTo>
                  <a:cubicBezTo>
                    <a:pt x="730" y="739"/>
                    <a:pt x="730" y="739"/>
                    <a:pt x="730" y="739"/>
                  </a:cubicBezTo>
                  <a:cubicBezTo>
                    <a:pt x="687" y="775"/>
                    <a:pt x="687" y="775"/>
                    <a:pt x="687" y="775"/>
                  </a:cubicBezTo>
                  <a:cubicBezTo>
                    <a:pt x="673" y="749"/>
                    <a:pt x="673" y="749"/>
                    <a:pt x="673" y="749"/>
                  </a:cubicBezTo>
                  <a:cubicBezTo>
                    <a:pt x="669" y="700"/>
                    <a:pt x="669" y="700"/>
                    <a:pt x="669" y="700"/>
                  </a:cubicBezTo>
                  <a:cubicBezTo>
                    <a:pt x="661" y="690"/>
                    <a:pt x="661" y="690"/>
                    <a:pt x="661" y="690"/>
                  </a:cubicBezTo>
                  <a:cubicBezTo>
                    <a:pt x="646" y="668"/>
                    <a:pt x="646" y="668"/>
                    <a:pt x="646" y="668"/>
                  </a:cubicBezTo>
                  <a:cubicBezTo>
                    <a:pt x="650" y="650"/>
                    <a:pt x="650" y="650"/>
                    <a:pt x="650" y="650"/>
                  </a:cubicBezTo>
                  <a:cubicBezTo>
                    <a:pt x="644" y="608"/>
                    <a:pt x="644" y="608"/>
                    <a:pt x="644" y="608"/>
                  </a:cubicBezTo>
                  <a:cubicBezTo>
                    <a:pt x="627" y="589"/>
                    <a:pt x="627" y="589"/>
                    <a:pt x="627" y="589"/>
                  </a:cubicBezTo>
                  <a:cubicBezTo>
                    <a:pt x="585" y="559"/>
                    <a:pt x="585" y="559"/>
                    <a:pt x="585" y="559"/>
                  </a:cubicBezTo>
                  <a:cubicBezTo>
                    <a:pt x="567" y="532"/>
                    <a:pt x="567" y="532"/>
                    <a:pt x="567" y="532"/>
                  </a:cubicBezTo>
                  <a:cubicBezTo>
                    <a:pt x="523" y="524"/>
                    <a:pt x="523" y="524"/>
                    <a:pt x="523" y="524"/>
                  </a:cubicBezTo>
                  <a:cubicBezTo>
                    <a:pt x="459" y="524"/>
                    <a:pt x="459" y="524"/>
                    <a:pt x="459" y="524"/>
                  </a:cubicBezTo>
                  <a:cubicBezTo>
                    <a:pt x="442" y="514"/>
                    <a:pt x="442" y="514"/>
                    <a:pt x="442" y="514"/>
                  </a:cubicBezTo>
                  <a:cubicBezTo>
                    <a:pt x="404" y="512"/>
                    <a:pt x="404" y="512"/>
                    <a:pt x="404" y="512"/>
                  </a:cubicBezTo>
                  <a:cubicBezTo>
                    <a:pt x="348" y="503"/>
                    <a:pt x="348" y="503"/>
                    <a:pt x="348" y="503"/>
                  </a:cubicBezTo>
                  <a:cubicBezTo>
                    <a:pt x="342" y="488"/>
                    <a:pt x="342" y="488"/>
                    <a:pt x="342" y="488"/>
                  </a:cubicBezTo>
                  <a:cubicBezTo>
                    <a:pt x="299" y="472"/>
                    <a:pt x="299" y="472"/>
                    <a:pt x="299" y="472"/>
                  </a:cubicBezTo>
                  <a:cubicBezTo>
                    <a:pt x="253" y="461"/>
                    <a:pt x="253" y="461"/>
                    <a:pt x="253" y="461"/>
                  </a:cubicBezTo>
                  <a:cubicBezTo>
                    <a:pt x="204" y="448"/>
                    <a:pt x="204" y="448"/>
                    <a:pt x="204" y="448"/>
                  </a:cubicBezTo>
                  <a:cubicBezTo>
                    <a:pt x="150" y="427"/>
                    <a:pt x="150" y="427"/>
                    <a:pt x="150" y="427"/>
                  </a:cubicBezTo>
                  <a:cubicBezTo>
                    <a:pt x="111" y="409"/>
                    <a:pt x="111" y="409"/>
                    <a:pt x="111" y="409"/>
                  </a:cubicBezTo>
                  <a:cubicBezTo>
                    <a:pt x="88" y="409"/>
                    <a:pt x="88" y="409"/>
                    <a:pt x="88" y="409"/>
                  </a:cubicBezTo>
                  <a:cubicBezTo>
                    <a:pt x="75" y="409"/>
                    <a:pt x="75" y="409"/>
                    <a:pt x="75" y="409"/>
                  </a:cubicBezTo>
                  <a:cubicBezTo>
                    <a:pt x="61" y="395"/>
                    <a:pt x="61" y="395"/>
                    <a:pt x="61" y="395"/>
                  </a:cubicBezTo>
                  <a:cubicBezTo>
                    <a:pt x="51" y="375"/>
                    <a:pt x="51" y="375"/>
                    <a:pt x="51" y="375"/>
                  </a:cubicBezTo>
                  <a:cubicBezTo>
                    <a:pt x="0" y="362"/>
                    <a:pt x="0" y="362"/>
                    <a:pt x="0" y="362"/>
                  </a:cubicBezTo>
                  <a:lnTo>
                    <a:pt x="0" y="35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0">
              <a:extLst>
                <a:ext uri="{FF2B5EF4-FFF2-40B4-BE49-F238E27FC236}">
                  <a16:creationId xmlns:a16="http://schemas.microsoft.com/office/drawing/2014/main" id="{7556E372-1A7B-575F-91B9-C018827F0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2468" y="5436958"/>
              <a:ext cx="993511" cy="1050747"/>
            </a:xfrm>
            <a:custGeom>
              <a:avLst/>
              <a:gdLst>
                <a:gd name="T0" fmla="*/ 1211 w 1389"/>
                <a:gd name="T1" fmla="*/ 445 h 1471"/>
                <a:gd name="T2" fmla="*/ 1192 w 1389"/>
                <a:gd name="T3" fmla="*/ 366 h 1471"/>
                <a:gd name="T4" fmla="*/ 1088 w 1389"/>
                <a:gd name="T5" fmla="*/ 301 h 1471"/>
                <a:gd name="T6" fmla="*/ 969 w 1389"/>
                <a:gd name="T7" fmla="*/ 289 h 1471"/>
                <a:gd name="T8" fmla="*/ 864 w 1389"/>
                <a:gd name="T9" fmla="*/ 249 h 1471"/>
                <a:gd name="T10" fmla="*/ 715 w 1389"/>
                <a:gd name="T11" fmla="*/ 204 h 1471"/>
                <a:gd name="T12" fmla="*/ 640 w 1389"/>
                <a:gd name="T13" fmla="*/ 186 h 1471"/>
                <a:gd name="T14" fmla="*/ 565 w 1389"/>
                <a:gd name="T15" fmla="*/ 139 h 1471"/>
                <a:gd name="T16" fmla="*/ 536 w 1389"/>
                <a:gd name="T17" fmla="*/ 125 h 1471"/>
                <a:gd name="T18" fmla="*/ 481 w 1389"/>
                <a:gd name="T19" fmla="*/ 117 h 1471"/>
                <a:gd name="T20" fmla="*/ 464 w 1389"/>
                <a:gd name="T21" fmla="*/ 98 h 1471"/>
                <a:gd name="T22" fmla="*/ 484 w 1389"/>
                <a:gd name="T23" fmla="*/ 14 h 1471"/>
                <a:gd name="T24" fmla="*/ 420 w 1389"/>
                <a:gd name="T25" fmla="*/ 22 h 1471"/>
                <a:gd name="T26" fmla="*/ 320 w 1389"/>
                <a:gd name="T27" fmla="*/ 63 h 1471"/>
                <a:gd name="T28" fmla="*/ 226 w 1389"/>
                <a:gd name="T29" fmla="*/ 108 h 1471"/>
                <a:gd name="T30" fmla="*/ 141 w 1389"/>
                <a:gd name="T31" fmla="*/ 101 h 1471"/>
                <a:gd name="T32" fmla="*/ 29 w 1389"/>
                <a:gd name="T33" fmla="*/ 380 h 1471"/>
                <a:gd name="T34" fmla="*/ 48 w 1389"/>
                <a:gd name="T35" fmla="*/ 495 h 1471"/>
                <a:gd name="T36" fmla="*/ 68 w 1389"/>
                <a:gd name="T37" fmla="*/ 776 h 1471"/>
                <a:gd name="T38" fmla="*/ 288 w 1389"/>
                <a:gd name="T39" fmla="*/ 931 h 1471"/>
                <a:gd name="T40" fmla="*/ 416 w 1389"/>
                <a:gd name="T41" fmla="*/ 1052 h 1471"/>
                <a:gd name="T42" fmla="*/ 432 w 1389"/>
                <a:gd name="T43" fmla="*/ 1196 h 1471"/>
                <a:gd name="T44" fmla="*/ 450 w 1389"/>
                <a:gd name="T45" fmla="*/ 1293 h 1471"/>
                <a:gd name="T46" fmla="*/ 463 w 1389"/>
                <a:gd name="T47" fmla="*/ 1404 h 1471"/>
                <a:gd name="T48" fmla="*/ 565 w 1389"/>
                <a:gd name="T49" fmla="*/ 1446 h 1471"/>
                <a:gd name="T50" fmla="*/ 1274 w 1389"/>
                <a:gd name="T51" fmla="*/ 1349 h 1471"/>
                <a:gd name="T52" fmla="*/ 1231 w 1389"/>
                <a:gd name="T53" fmla="*/ 1187 h 1471"/>
                <a:gd name="T54" fmla="*/ 1262 w 1389"/>
                <a:gd name="T55" fmla="*/ 1074 h 1471"/>
                <a:gd name="T56" fmla="*/ 1258 w 1389"/>
                <a:gd name="T57" fmla="*/ 969 h 1471"/>
                <a:gd name="T58" fmla="*/ 1274 w 1389"/>
                <a:gd name="T59" fmla="*/ 905 h 1471"/>
                <a:gd name="T60" fmla="*/ 1285 w 1389"/>
                <a:gd name="T61" fmla="*/ 836 h 1471"/>
                <a:gd name="T62" fmla="*/ 1302 w 1389"/>
                <a:gd name="T63" fmla="*/ 727 h 1471"/>
                <a:gd name="T64" fmla="*/ 1367 w 1389"/>
                <a:gd name="T65" fmla="*/ 587 h 1471"/>
                <a:gd name="T66" fmla="*/ 1389 w 1389"/>
                <a:gd name="T67" fmla="*/ 545 h 1471"/>
                <a:gd name="T68" fmla="*/ 1389 w 1389"/>
                <a:gd name="T69" fmla="*/ 505 h 1471"/>
                <a:gd name="T70" fmla="*/ 1345 w 1389"/>
                <a:gd name="T71" fmla="*/ 547 h 1471"/>
                <a:gd name="T72" fmla="*/ 1294 w 1389"/>
                <a:gd name="T73" fmla="*/ 636 h 1471"/>
                <a:gd name="T74" fmla="*/ 1223 w 1389"/>
                <a:gd name="T75" fmla="*/ 698 h 1471"/>
                <a:gd name="T76" fmla="*/ 1160 w 1389"/>
                <a:gd name="T77" fmla="*/ 738 h 1471"/>
                <a:gd name="T78" fmla="*/ 1205 w 1389"/>
                <a:gd name="T79" fmla="*/ 645 h 1471"/>
                <a:gd name="T80" fmla="*/ 1240 w 1389"/>
                <a:gd name="T81" fmla="*/ 599 h 1471"/>
                <a:gd name="T82" fmla="*/ 1243 w 1389"/>
                <a:gd name="T83" fmla="*/ 537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9" h="1471">
                  <a:moveTo>
                    <a:pt x="1234" y="477"/>
                  </a:moveTo>
                  <a:cubicBezTo>
                    <a:pt x="1226" y="467"/>
                    <a:pt x="1226" y="467"/>
                    <a:pt x="1226" y="467"/>
                  </a:cubicBezTo>
                  <a:cubicBezTo>
                    <a:pt x="1211" y="445"/>
                    <a:pt x="1211" y="445"/>
                    <a:pt x="1211" y="445"/>
                  </a:cubicBezTo>
                  <a:cubicBezTo>
                    <a:pt x="1215" y="427"/>
                    <a:pt x="1215" y="427"/>
                    <a:pt x="1215" y="427"/>
                  </a:cubicBezTo>
                  <a:cubicBezTo>
                    <a:pt x="1209" y="385"/>
                    <a:pt x="1209" y="385"/>
                    <a:pt x="1209" y="385"/>
                  </a:cubicBezTo>
                  <a:cubicBezTo>
                    <a:pt x="1192" y="366"/>
                    <a:pt x="1192" y="366"/>
                    <a:pt x="1192" y="366"/>
                  </a:cubicBezTo>
                  <a:cubicBezTo>
                    <a:pt x="1150" y="336"/>
                    <a:pt x="1150" y="336"/>
                    <a:pt x="1150" y="336"/>
                  </a:cubicBezTo>
                  <a:cubicBezTo>
                    <a:pt x="1132" y="309"/>
                    <a:pt x="1132" y="309"/>
                    <a:pt x="1132" y="309"/>
                  </a:cubicBezTo>
                  <a:cubicBezTo>
                    <a:pt x="1088" y="301"/>
                    <a:pt x="1088" y="301"/>
                    <a:pt x="1088" y="301"/>
                  </a:cubicBezTo>
                  <a:cubicBezTo>
                    <a:pt x="1024" y="301"/>
                    <a:pt x="1024" y="301"/>
                    <a:pt x="1024" y="301"/>
                  </a:cubicBezTo>
                  <a:cubicBezTo>
                    <a:pt x="1007" y="291"/>
                    <a:pt x="1007" y="291"/>
                    <a:pt x="1007" y="291"/>
                  </a:cubicBezTo>
                  <a:cubicBezTo>
                    <a:pt x="969" y="289"/>
                    <a:pt x="969" y="289"/>
                    <a:pt x="969" y="289"/>
                  </a:cubicBezTo>
                  <a:cubicBezTo>
                    <a:pt x="913" y="280"/>
                    <a:pt x="913" y="280"/>
                    <a:pt x="913" y="280"/>
                  </a:cubicBezTo>
                  <a:cubicBezTo>
                    <a:pt x="907" y="265"/>
                    <a:pt x="907" y="265"/>
                    <a:pt x="907" y="265"/>
                  </a:cubicBezTo>
                  <a:cubicBezTo>
                    <a:pt x="864" y="249"/>
                    <a:pt x="864" y="249"/>
                    <a:pt x="864" y="249"/>
                  </a:cubicBezTo>
                  <a:cubicBezTo>
                    <a:pt x="818" y="238"/>
                    <a:pt x="818" y="238"/>
                    <a:pt x="818" y="238"/>
                  </a:cubicBezTo>
                  <a:cubicBezTo>
                    <a:pt x="769" y="225"/>
                    <a:pt x="769" y="225"/>
                    <a:pt x="769" y="225"/>
                  </a:cubicBezTo>
                  <a:cubicBezTo>
                    <a:pt x="715" y="204"/>
                    <a:pt x="715" y="204"/>
                    <a:pt x="715" y="204"/>
                  </a:cubicBezTo>
                  <a:cubicBezTo>
                    <a:pt x="676" y="186"/>
                    <a:pt x="676" y="186"/>
                    <a:pt x="676" y="186"/>
                  </a:cubicBezTo>
                  <a:cubicBezTo>
                    <a:pt x="653" y="186"/>
                    <a:pt x="653" y="186"/>
                    <a:pt x="653" y="186"/>
                  </a:cubicBezTo>
                  <a:cubicBezTo>
                    <a:pt x="640" y="186"/>
                    <a:pt x="640" y="186"/>
                    <a:pt x="640" y="186"/>
                  </a:cubicBezTo>
                  <a:cubicBezTo>
                    <a:pt x="626" y="172"/>
                    <a:pt x="626" y="172"/>
                    <a:pt x="626" y="172"/>
                  </a:cubicBezTo>
                  <a:cubicBezTo>
                    <a:pt x="616" y="152"/>
                    <a:pt x="616" y="152"/>
                    <a:pt x="616" y="152"/>
                  </a:cubicBezTo>
                  <a:cubicBezTo>
                    <a:pt x="565" y="139"/>
                    <a:pt x="565" y="139"/>
                    <a:pt x="565" y="139"/>
                  </a:cubicBezTo>
                  <a:cubicBezTo>
                    <a:pt x="565" y="133"/>
                    <a:pt x="565" y="133"/>
                    <a:pt x="565" y="133"/>
                  </a:cubicBezTo>
                  <a:cubicBezTo>
                    <a:pt x="561" y="133"/>
                    <a:pt x="561" y="133"/>
                    <a:pt x="561" y="133"/>
                  </a:cubicBezTo>
                  <a:cubicBezTo>
                    <a:pt x="536" y="125"/>
                    <a:pt x="536" y="125"/>
                    <a:pt x="536" y="125"/>
                  </a:cubicBezTo>
                  <a:cubicBezTo>
                    <a:pt x="516" y="107"/>
                    <a:pt x="516" y="107"/>
                    <a:pt x="516" y="107"/>
                  </a:cubicBezTo>
                  <a:cubicBezTo>
                    <a:pt x="499" y="98"/>
                    <a:pt x="499" y="98"/>
                    <a:pt x="499" y="98"/>
                  </a:cubicBezTo>
                  <a:cubicBezTo>
                    <a:pt x="481" y="117"/>
                    <a:pt x="481" y="117"/>
                    <a:pt x="481" y="117"/>
                  </a:cubicBezTo>
                  <a:cubicBezTo>
                    <a:pt x="461" y="122"/>
                    <a:pt x="461" y="122"/>
                    <a:pt x="461" y="122"/>
                  </a:cubicBezTo>
                  <a:cubicBezTo>
                    <a:pt x="453" y="112"/>
                    <a:pt x="453" y="112"/>
                    <a:pt x="453" y="112"/>
                  </a:cubicBezTo>
                  <a:cubicBezTo>
                    <a:pt x="464" y="98"/>
                    <a:pt x="464" y="98"/>
                    <a:pt x="464" y="98"/>
                  </a:cubicBezTo>
                  <a:cubicBezTo>
                    <a:pt x="466" y="56"/>
                    <a:pt x="466" y="56"/>
                    <a:pt x="466" y="56"/>
                  </a:cubicBezTo>
                  <a:cubicBezTo>
                    <a:pt x="474" y="43"/>
                    <a:pt x="474" y="43"/>
                    <a:pt x="474" y="43"/>
                  </a:cubicBezTo>
                  <a:cubicBezTo>
                    <a:pt x="484" y="14"/>
                    <a:pt x="484" y="14"/>
                    <a:pt x="484" y="14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446" y="5"/>
                    <a:pt x="446" y="5"/>
                    <a:pt x="446" y="5"/>
                  </a:cubicBezTo>
                  <a:cubicBezTo>
                    <a:pt x="420" y="22"/>
                    <a:pt x="420" y="22"/>
                    <a:pt x="420" y="22"/>
                  </a:cubicBezTo>
                  <a:cubicBezTo>
                    <a:pt x="390" y="27"/>
                    <a:pt x="390" y="27"/>
                    <a:pt x="390" y="27"/>
                  </a:cubicBezTo>
                  <a:cubicBezTo>
                    <a:pt x="357" y="42"/>
                    <a:pt x="357" y="42"/>
                    <a:pt x="357" y="42"/>
                  </a:cubicBezTo>
                  <a:cubicBezTo>
                    <a:pt x="320" y="63"/>
                    <a:pt x="320" y="63"/>
                    <a:pt x="320" y="63"/>
                  </a:cubicBezTo>
                  <a:cubicBezTo>
                    <a:pt x="268" y="86"/>
                    <a:pt x="268" y="86"/>
                    <a:pt x="268" y="86"/>
                  </a:cubicBezTo>
                  <a:cubicBezTo>
                    <a:pt x="252" y="110"/>
                    <a:pt x="252" y="110"/>
                    <a:pt x="252" y="110"/>
                  </a:cubicBezTo>
                  <a:cubicBezTo>
                    <a:pt x="226" y="108"/>
                    <a:pt x="226" y="108"/>
                    <a:pt x="226" y="108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68" y="73"/>
                    <a:pt x="168" y="73"/>
                    <a:pt x="168" y="73"/>
                  </a:cubicBezTo>
                  <a:cubicBezTo>
                    <a:pt x="141" y="101"/>
                    <a:pt x="141" y="101"/>
                    <a:pt x="141" y="101"/>
                  </a:cubicBezTo>
                  <a:cubicBezTo>
                    <a:pt x="138" y="293"/>
                    <a:pt x="138" y="293"/>
                    <a:pt x="138" y="293"/>
                  </a:cubicBezTo>
                  <a:cubicBezTo>
                    <a:pt x="44" y="354"/>
                    <a:pt x="44" y="354"/>
                    <a:pt x="44" y="354"/>
                  </a:cubicBezTo>
                  <a:cubicBezTo>
                    <a:pt x="29" y="380"/>
                    <a:pt x="29" y="380"/>
                    <a:pt x="29" y="380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29" y="495"/>
                    <a:pt x="29" y="495"/>
                    <a:pt x="29" y="495"/>
                  </a:cubicBezTo>
                  <a:cubicBezTo>
                    <a:pt x="48" y="495"/>
                    <a:pt x="48" y="495"/>
                    <a:pt x="48" y="495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28" y="741"/>
                    <a:pt x="28" y="741"/>
                    <a:pt x="28" y="741"/>
                  </a:cubicBezTo>
                  <a:cubicBezTo>
                    <a:pt x="68" y="776"/>
                    <a:pt x="68" y="776"/>
                    <a:pt x="68" y="776"/>
                  </a:cubicBezTo>
                  <a:cubicBezTo>
                    <a:pt x="133" y="807"/>
                    <a:pt x="133" y="807"/>
                    <a:pt x="133" y="807"/>
                  </a:cubicBezTo>
                  <a:cubicBezTo>
                    <a:pt x="224" y="861"/>
                    <a:pt x="224" y="861"/>
                    <a:pt x="224" y="861"/>
                  </a:cubicBezTo>
                  <a:cubicBezTo>
                    <a:pt x="288" y="931"/>
                    <a:pt x="288" y="931"/>
                    <a:pt x="288" y="931"/>
                  </a:cubicBezTo>
                  <a:cubicBezTo>
                    <a:pt x="310" y="962"/>
                    <a:pt x="310" y="962"/>
                    <a:pt x="310" y="962"/>
                  </a:cubicBezTo>
                  <a:cubicBezTo>
                    <a:pt x="359" y="996"/>
                    <a:pt x="359" y="996"/>
                    <a:pt x="359" y="996"/>
                  </a:cubicBezTo>
                  <a:cubicBezTo>
                    <a:pt x="416" y="1052"/>
                    <a:pt x="416" y="1052"/>
                    <a:pt x="416" y="1052"/>
                  </a:cubicBezTo>
                  <a:cubicBezTo>
                    <a:pt x="420" y="1101"/>
                    <a:pt x="420" y="1101"/>
                    <a:pt x="420" y="1101"/>
                  </a:cubicBezTo>
                  <a:cubicBezTo>
                    <a:pt x="416" y="1151"/>
                    <a:pt x="416" y="1151"/>
                    <a:pt x="416" y="1151"/>
                  </a:cubicBezTo>
                  <a:cubicBezTo>
                    <a:pt x="432" y="1196"/>
                    <a:pt x="432" y="1196"/>
                    <a:pt x="432" y="1196"/>
                  </a:cubicBezTo>
                  <a:cubicBezTo>
                    <a:pt x="450" y="1220"/>
                    <a:pt x="450" y="1220"/>
                    <a:pt x="450" y="1220"/>
                  </a:cubicBezTo>
                  <a:cubicBezTo>
                    <a:pt x="450" y="1269"/>
                    <a:pt x="450" y="1269"/>
                    <a:pt x="450" y="1269"/>
                  </a:cubicBezTo>
                  <a:cubicBezTo>
                    <a:pt x="450" y="1293"/>
                    <a:pt x="450" y="1293"/>
                    <a:pt x="450" y="1293"/>
                  </a:cubicBezTo>
                  <a:cubicBezTo>
                    <a:pt x="450" y="1333"/>
                    <a:pt x="450" y="1333"/>
                    <a:pt x="450" y="1333"/>
                  </a:cubicBezTo>
                  <a:cubicBezTo>
                    <a:pt x="463" y="1373"/>
                    <a:pt x="463" y="1373"/>
                    <a:pt x="463" y="1373"/>
                  </a:cubicBezTo>
                  <a:cubicBezTo>
                    <a:pt x="463" y="1404"/>
                    <a:pt x="463" y="1404"/>
                    <a:pt x="463" y="1404"/>
                  </a:cubicBezTo>
                  <a:cubicBezTo>
                    <a:pt x="499" y="1404"/>
                    <a:pt x="499" y="1404"/>
                    <a:pt x="499" y="1404"/>
                  </a:cubicBezTo>
                  <a:cubicBezTo>
                    <a:pt x="499" y="1404"/>
                    <a:pt x="528" y="1429"/>
                    <a:pt x="534" y="1429"/>
                  </a:cubicBezTo>
                  <a:cubicBezTo>
                    <a:pt x="541" y="1429"/>
                    <a:pt x="565" y="1446"/>
                    <a:pt x="565" y="1446"/>
                  </a:cubicBezTo>
                  <a:cubicBezTo>
                    <a:pt x="585" y="1471"/>
                    <a:pt x="585" y="1471"/>
                    <a:pt x="585" y="1471"/>
                  </a:cubicBezTo>
                  <a:cubicBezTo>
                    <a:pt x="1274" y="1431"/>
                    <a:pt x="1274" y="1431"/>
                    <a:pt x="1274" y="1431"/>
                  </a:cubicBezTo>
                  <a:cubicBezTo>
                    <a:pt x="1274" y="1349"/>
                    <a:pt x="1274" y="1349"/>
                    <a:pt x="1274" y="1349"/>
                  </a:cubicBezTo>
                  <a:cubicBezTo>
                    <a:pt x="1274" y="1324"/>
                    <a:pt x="1274" y="1324"/>
                    <a:pt x="1274" y="1324"/>
                  </a:cubicBezTo>
                  <a:cubicBezTo>
                    <a:pt x="1236" y="1238"/>
                    <a:pt x="1236" y="1238"/>
                    <a:pt x="1236" y="1238"/>
                  </a:cubicBezTo>
                  <a:cubicBezTo>
                    <a:pt x="1231" y="1187"/>
                    <a:pt x="1231" y="1187"/>
                    <a:pt x="1231" y="1187"/>
                  </a:cubicBezTo>
                  <a:cubicBezTo>
                    <a:pt x="1236" y="1133"/>
                    <a:pt x="1236" y="1133"/>
                    <a:pt x="1236" y="1133"/>
                  </a:cubicBezTo>
                  <a:cubicBezTo>
                    <a:pt x="1254" y="1094"/>
                    <a:pt x="1254" y="1094"/>
                    <a:pt x="1254" y="1094"/>
                  </a:cubicBezTo>
                  <a:cubicBezTo>
                    <a:pt x="1262" y="1074"/>
                    <a:pt x="1262" y="1074"/>
                    <a:pt x="1262" y="1074"/>
                  </a:cubicBezTo>
                  <a:cubicBezTo>
                    <a:pt x="1274" y="1051"/>
                    <a:pt x="1274" y="1051"/>
                    <a:pt x="1274" y="1051"/>
                  </a:cubicBezTo>
                  <a:cubicBezTo>
                    <a:pt x="1258" y="1014"/>
                    <a:pt x="1258" y="1014"/>
                    <a:pt x="1258" y="1014"/>
                  </a:cubicBezTo>
                  <a:cubicBezTo>
                    <a:pt x="1258" y="969"/>
                    <a:pt x="1258" y="969"/>
                    <a:pt x="1258" y="969"/>
                  </a:cubicBezTo>
                  <a:cubicBezTo>
                    <a:pt x="1260" y="938"/>
                    <a:pt x="1260" y="938"/>
                    <a:pt x="1260" y="938"/>
                  </a:cubicBezTo>
                  <a:cubicBezTo>
                    <a:pt x="1274" y="920"/>
                    <a:pt x="1274" y="920"/>
                    <a:pt x="1274" y="920"/>
                  </a:cubicBezTo>
                  <a:cubicBezTo>
                    <a:pt x="1274" y="905"/>
                    <a:pt x="1274" y="905"/>
                    <a:pt x="1274" y="905"/>
                  </a:cubicBezTo>
                  <a:cubicBezTo>
                    <a:pt x="1302" y="880"/>
                    <a:pt x="1302" y="880"/>
                    <a:pt x="1302" y="880"/>
                  </a:cubicBezTo>
                  <a:cubicBezTo>
                    <a:pt x="1302" y="865"/>
                    <a:pt x="1302" y="865"/>
                    <a:pt x="1302" y="865"/>
                  </a:cubicBezTo>
                  <a:cubicBezTo>
                    <a:pt x="1285" y="836"/>
                    <a:pt x="1285" y="836"/>
                    <a:pt x="1285" y="836"/>
                  </a:cubicBezTo>
                  <a:cubicBezTo>
                    <a:pt x="1287" y="814"/>
                    <a:pt x="1287" y="814"/>
                    <a:pt x="1287" y="814"/>
                  </a:cubicBezTo>
                  <a:cubicBezTo>
                    <a:pt x="1291" y="763"/>
                    <a:pt x="1291" y="763"/>
                    <a:pt x="1291" y="763"/>
                  </a:cubicBezTo>
                  <a:cubicBezTo>
                    <a:pt x="1302" y="727"/>
                    <a:pt x="1302" y="727"/>
                    <a:pt x="1302" y="727"/>
                  </a:cubicBezTo>
                  <a:cubicBezTo>
                    <a:pt x="1325" y="683"/>
                    <a:pt x="1325" y="683"/>
                    <a:pt x="1325" y="683"/>
                  </a:cubicBezTo>
                  <a:cubicBezTo>
                    <a:pt x="1353" y="614"/>
                    <a:pt x="1353" y="614"/>
                    <a:pt x="1353" y="614"/>
                  </a:cubicBezTo>
                  <a:cubicBezTo>
                    <a:pt x="1367" y="587"/>
                    <a:pt x="1367" y="587"/>
                    <a:pt x="1367" y="587"/>
                  </a:cubicBezTo>
                  <a:cubicBezTo>
                    <a:pt x="1367" y="567"/>
                    <a:pt x="1367" y="567"/>
                    <a:pt x="1367" y="567"/>
                  </a:cubicBezTo>
                  <a:cubicBezTo>
                    <a:pt x="1389" y="556"/>
                    <a:pt x="1389" y="556"/>
                    <a:pt x="1389" y="556"/>
                  </a:cubicBezTo>
                  <a:cubicBezTo>
                    <a:pt x="1389" y="545"/>
                    <a:pt x="1389" y="545"/>
                    <a:pt x="1389" y="545"/>
                  </a:cubicBezTo>
                  <a:cubicBezTo>
                    <a:pt x="1389" y="532"/>
                    <a:pt x="1389" y="532"/>
                    <a:pt x="1389" y="532"/>
                  </a:cubicBezTo>
                  <a:cubicBezTo>
                    <a:pt x="1389" y="519"/>
                    <a:pt x="1389" y="519"/>
                    <a:pt x="1389" y="519"/>
                  </a:cubicBezTo>
                  <a:cubicBezTo>
                    <a:pt x="1389" y="505"/>
                    <a:pt x="1389" y="505"/>
                    <a:pt x="1389" y="505"/>
                  </a:cubicBezTo>
                  <a:cubicBezTo>
                    <a:pt x="1389" y="488"/>
                    <a:pt x="1389" y="488"/>
                    <a:pt x="1389" y="488"/>
                  </a:cubicBezTo>
                  <a:cubicBezTo>
                    <a:pt x="1365" y="516"/>
                    <a:pt x="1365" y="516"/>
                    <a:pt x="1365" y="516"/>
                  </a:cubicBezTo>
                  <a:cubicBezTo>
                    <a:pt x="1345" y="547"/>
                    <a:pt x="1345" y="547"/>
                    <a:pt x="1345" y="547"/>
                  </a:cubicBezTo>
                  <a:cubicBezTo>
                    <a:pt x="1334" y="576"/>
                    <a:pt x="1334" y="576"/>
                    <a:pt x="1334" y="576"/>
                  </a:cubicBezTo>
                  <a:cubicBezTo>
                    <a:pt x="1318" y="621"/>
                    <a:pt x="1318" y="621"/>
                    <a:pt x="1318" y="621"/>
                  </a:cubicBezTo>
                  <a:cubicBezTo>
                    <a:pt x="1294" y="636"/>
                    <a:pt x="1294" y="636"/>
                    <a:pt x="1294" y="636"/>
                  </a:cubicBezTo>
                  <a:cubicBezTo>
                    <a:pt x="1251" y="654"/>
                    <a:pt x="1251" y="654"/>
                    <a:pt x="1251" y="654"/>
                  </a:cubicBezTo>
                  <a:cubicBezTo>
                    <a:pt x="1234" y="683"/>
                    <a:pt x="1234" y="683"/>
                    <a:pt x="1234" y="683"/>
                  </a:cubicBezTo>
                  <a:cubicBezTo>
                    <a:pt x="1223" y="698"/>
                    <a:pt x="1223" y="698"/>
                    <a:pt x="1223" y="698"/>
                  </a:cubicBezTo>
                  <a:cubicBezTo>
                    <a:pt x="1211" y="727"/>
                    <a:pt x="1211" y="727"/>
                    <a:pt x="1211" y="727"/>
                  </a:cubicBezTo>
                  <a:cubicBezTo>
                    <a:pt x="1180" y="761"/>
                    <a:pt x="1180" y="761"/>
                    <a:pt x="1180" y="761"/>
                  </a:cubicBezTo>
                  <a:cubicBezTo>
                    <a:pt x="1160" y="738"/>
                    <a:pt x="1160" y="738"/>
                    <a:pt x="1160" y="738"/>
                  </a:cubicBezTo>
                  <a:cubicBezTo>
                    <a:pt x="1183" y="711"/>
                    <a:pt x="1183" y="711"/>
                    <a:pt x="1183" y="711"/>
                  </a:cubicBezTo>
                  <a:cubicBezTo>
                    <a:pt x="1200" y="663"/>
                    <a:pt x="1200" y="663"/>
                    <a:pt x="1200" y="663"/>
                  </a:cubicBezTo>
                  <a:cubicBezTo>
                    <a:pt x="1205" y="645"/>
                    <a:pt x="1205" y="645"/>
                    <a:pt x="1205" y="645"/>
                  </a:cubicBezTo>
                  <a:cubicBezTo>
                    <a:pt x="1209" y="625"/>
                    <a:pt x="1209" y="625"/>
                    <a:pt x="1209" y="625"/>
                  </a:cubicBezTo>
                  <a:cubicBezTo>
                    <a:pt x="1227" y="612"/>
                    <a:pt x="1227" y="612"/>
                    <a:pt x="1227" y="612"/>
                  </a:cubicBezTo>
                  <a:cubicBezTo>
                    <a:pt x="1240" y="599"/>
                    <a:pt x="1240" y="599"/>
                    <a:pt x="1240" y="599"/>
                  </a:cubicBezTo>
                  <a:cubicBezTo>
                    <a:pt x="1245" y="585"/>
                    <a:pt x="1245" y="585"/>
                    <a:pt x="1245" y="585"/>
                  </a:cubicBezTo>
                  <a:cubicBezTo>
                    <a:pt x="1236" y="550"/>
                    <a:pt x="1236" y="550"/>
                    <a:pt x="1236" y="550"/>
                  </a:cubicBezTo>
                  <a:cubicBezTo>
                    <a:pt x="1243" y="537"/>
                    <a:pt x="1243" y="537"/>
                    <a:pt x="1243" y="537"/>
                  </a:cubicBezTo>
                  <a:cubicBezTo>
                    <a:pt x="1238" y="526"/>
                    <a:pt x="1238" y="526"/>
                    <a:pt x="1238" y="526"/>
                  </a:cubicBezTo>
                  <a:lnTo>
                    <a:pt x="1234" y="477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1">
              <a:extLst>
                <a:ext uri="{FF2B5EF4-FFF2-40B4-BE49-F238E27FC236}">
                  <a16:creationId xmlns:a16="http://schemas.microsoft.com/office/drawing/2014/main" id="{F8E262ED-B912-F58F-4AF8-A21C3F9CB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46156" y="6430466"/>
              <a:ext cx="789085" cy="915828"/>
            </a:xfrm>
            <a:custGeom>
              <a:avLst/>
              <a:gdLst>
                <a:gd name="T0" fmla="*/ 162 w 193"/>
                <a:gd name="T1" fmla="*/ 12 h 224"/>
                <a:gd name="T2" fmla="*/ 144 w 193"/>
                <a:gd name="T3" fmla="*/ 25 h 224"/>
                <a:gd name="T4" fmla="*/ 133 w 193"/>
                <a:gd name="T5" fmla="*/ 33 h 224"/>
                <a:gd name="T6" fmla="*/ 125 w 193"/>
                <a:gd name="T7" fmla="*/ 38 h 224"/>
                <a:gd name="T8" fmla="*/ 117 w 193"/>
                <a:gd name="T9" fmla="*/ 38 h 224"/>
                <a:gd name="T10" fmla="*/ 104 w 193"/>
                <a:gd name="T11" fmla="*/ 47 h 224"/>
                <a:gd name="T12" fmla="*/ 98 w 193"/>
                <a:gd name="T13" fmla="*/ 47 h 224"/>
                <a:gd name="T14" fmla="*/ 92 w 193"/>
                <a:gd name="T15" fmla="*/ 44 h 224"/>
                <a:gd name="T16" fmla="*/ 85 w 193"/>
                <a:gd name="T17" fmla="*/ 42 h 224"/>
                <a:gd name="T18" fmla="*/ 77 w 193"/>
                <a:gd name="T19" fmla="*/ 39 h 224"/>
                <a:gd name="T20" fmla="*/ 66 w 193"/>
                <a:gd name="T21" fmla="*/ 34 h 224"/>
                <a:gd name="T22" fmla="*/ 0 w 193"/>
                <a:gd name="T23" fmla="*/ 41 h 224"/>
                <a:gd name="T24" fmla="*/ 22 w 193"/>
                <a:gd name="T25" fmla="*/ 194 h 224"/>
                <a:gd name="T26" fmla="*/ 30 w 193"/>
                <a:gd name="T27" fmla="*/ 190 h 224"/>
                <a:gd name="T28" fmla="*/ 43 w 193"/>
                <a:gd name="T29" fmla="*/ 201 h 224"/>
                <a:gd name="T30" fmla="*/ 48 w 193"/>
                <a:gd name="T31" fmla="*/ 209 h 224"/>
                <a:gd name="T32" fmla="*/ 59 w 193"/>
                <a:gd name="T33" fmla="*/ 211 h 224"/>
                <a:gd name="T34" fmla="*/ 65 w 193"/>
                <a:gd name="T35" fmla="*/ 217 h 224"/>
                <a:gd name="T36" fmla="*/ 70 w 193"/>
                <a:gd name="T37" fmla="*/ 214 h 224"/>
                <a:gd name="T38" fmla="*/ 73 w 193"/>
                <a:gd name="T39" fmla="*/ 210 h 224"/>
                <a:gd name="T40" fmla="*/ 85 w 193"/>
                <a:gd name="T41" fmla="*/ 215 h 224"/>
                <a:gd name="T42" fmla="*/ 95 w 193"/>
                <a:gd name="T43" fmla="*/ 211 h 224"/>
                <a:gd name="T44" fmla="*/ 100 w 193"/>
                <a:gd name="T45" fmla="*/ 205 h 224"/>
                <a:gd name="T46" fmla="*/ 106 w 193"/>
                <a:gd name="T47" fmla="*/ 210 h 224"/>
                <a:gd name="T48" fmla="*/ 118 w 193"/>
                <a:gd name="T49" fmla="*/ 221 h 224"/>
                <a:gd name="T50" fmla="*/ 121 w 193"/>
                <a:gd name="T51" fmla="*/ 224 h 224"/>
                <a:gd name="T52" fmla="*/ 131 w 193"/>
                <a:gd name="T53" fmla="*/ 213 h 224"/>
                <a:gd name="T54" fmla="*/ 134 w 193"/>
                <a:gd name="T55" fmla="*/ 203 h 224"/>
                <a:gd name="T56" fmla="*/ 143 w 193"/>
                <a:gd name="T57" fmla="*/ 184 h 224"/>
                <a:gd name="T58" fmla="*/ 149 w 193"/>
                <a:gd name="T59" fmla="*/ 186 h 224"/>
                <a:gd name="T60" fmla="*/ 154 w 193"/>
                <a:gd name="T61" fmla="*/ 167 h 224"/>
                <a:gd name="T62" fmla="*/ 168 w 193"/>
                <a:gd name="T63" fmla="*/ 158 h 224"/>
                <a:gd name="T64" fmla="*/ 183 w 193"/>
                <a:gd name="T65" fmla="*/ 142 h 224"/>
                <a:gd name="T66" fmla="*/ 186 w 193"/>
                <a:gd name="T67" fmla="*/ 130 h 224"/>
                <a:gd name="T68" fmla="*/ 187 w 193"/>
                <a:gd name="T69" fmla="*/ 112 h 224"/>
                <a:gd name="T70" fmla="*/ 190 w 193"/>
                <a:gd name="T71" fmla="*/ 101 h 224"/>
                <a:gd name="T72" fmla="*/ 190 w 193"/>
                <a:gd name="T73" fmla="*/ 87 h 224"/>
                <a:gd name="T74" fmla="*/ 190 w 193"/>
                <a:gd name="T75" fmla="*/ 80 h 224"/>
                <a:gd name="T76" fmla="*/ 180 w 193"/>
                <a:gd name="T77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3" h="224">
                  <a:moveTo>
                    <a:pt x="172" y="7"/>
                  </a:moveTo>
                  <a:lnTo>
                    <a:pt x="162" y="12"/>
                  </a:lnTo>
                  <a:lnTo>
                    <a:pt x="154" y="19"/>
                  </a:lnTo>
                  <a:lnTo>
                    <a:pt x="144" y="25"/>
                  </a:lnTo>
                  <a:lnTo>
                    <a:pt x="137" y="30"/>
                  </a:lnTo>
                  <a:lnTo>
                    <a:pt x="133" y="33"/>
                  </a:lnTo>
                  <a:lnTo>
                    <a:pt x="129" y="35"/>
                  </a:lnTo>
                  <a:lnTo>
                    <a:pt x="125" y="38"/>
                  </a:lnTo>
                  <a:lnTo>
                    <a:pt x="121" y="38"/>
                  </a:lnTo>
                  <a:lnTo>
                    <a:pt x="117" y="38"/>
                  </a:lnTo>
                  <a:lnTo>
                    <a:pt x="110" y="42"/>
                  </a:lnTo>
                  <a:lnTo>
                    <a:pt x="104" y="47"/>
                  </a:lnTo>
                  <a:lnTo>
                    <a:pt x="101" y="47"/>
                  </a:lnTo>
                  <a:lnTo>
                    <a:pt x="98" y="47"/>
                  </a:lnTo>
                  <a:lnTo>
                    <a:pt x="96" y="47"/>
                  </a:lnTo>
                  <a:lnTo>
                    <a:pt x="92" y="44"/>
                  </a:lnTo>
                  <a:lnTo>
                    <a:pt x="87" y="41"/>
                  </a:lnTo>
                  <a:lnTo>
                    <a:pt x="85" y="42"/>
                  </a:lnTo>
                  <a:lnTo>
                    <a:pt x="80" y="40"/>
                  </a:lnTo>
                  <a:lnTo>
                    <a:pt x="77" y="39"/>
                  </a:lnTo>
                  <a:lnTo>
                    <a:pt x="72" y="35"/>
                  </a:lnTo>
                  <a:lnTo>
                    <a:pt x="66" y="34"/>
                  </a:lnTo>
                  <a:lnTo>
                    <a:pt x="55" y="32"/>
                  </a:lnTo>
                  <a:lnTo>
                    <a:pt x="0" y="41"/>
                  </a:lnTo>
                  <a:lnTo>
                    <a:pt x="15" y="192"/>
                  </a:lnTo>
                  <a:lnTo>
                    <a:pt x="22" y="194"/>
                  </a:lnTo>
                  <a:lnTo>
                    <a:pt x="29" y="192"/>
                  </a:lnTo>
                  <a:lnTo>
                    <a:pt x="30" y="190"/>
                  </a:lnTo>
                  <a:lnTo>
                    <a:pt x="37" y="196"/>
                  </a:lnTo>
                  <a:lnTo>
                    <a:pt x="43" y="201"/>
                  </a:lnTo>
                  <a:lnTo>
                    <a:pt x="45" y="206"/>
                  </a:lnTo>
                  <a:lnTo>
                    <a:pt x="48" y="209"/>
                  </a:lnTo>
                  <a:lnTo>
                    <a:pt x="55" y="210"/>
                  </a:lnTo>
                  <a:lnTo>
                    <a:pt x="59" y="211"/>
                  </a:lnTo>
                  <a:lnTo>
                    <a:pt x="63" y="213"/>
                  </a:lnTo>
                  <a:lnTo>
                    <a:pt x="65" y="217"/>
                  </a:lnTo>
                  <a:lnTo>
                    <a:pt x="68" y="215"/>
                  </a:lnTo>
                  <a:lnTo>
                    <a:pt x="70" y="214"/>
                  </a:lnTo>
                  <a:lnTo>
                    <a:pt x="72" y="210"/>
                  </a:lnTo>
                  <a:lnTo>
                    <a:pt x="73" y="210"/>
                  </a:lnTo>
                  <a:lnTo>
                    <a:pt x="78" y="212"/>
                  </a:lnTo>
                  <a:lnTo>
                    <a:pt x="85" y="215"/>
                  </a:lnTo>
                  <a:lnTo>
                    <a:pt x="93" y="213"/>
                  </a:lnTo>
                  <a:lnTo>
                    <a:pt x="95" y="211"/>
                  </a:lnTo>
                  <a:lnTo>
                    <a:pt x="97" y="208"/>
                  </a:lnTo>
                  <a:lnTo>
                    <a:pt x="100" y="205"/>
                  </a:lnTo>
                  <a:lnTo>
                    <a:pt x="102" y="205"/>
                  </a:lnTo>
                  <a:lnTo>
                    <a:pt x="106" y="210"/>
                  </a:lnTo>
                  <a:lnTo>
                    <a:pt x="112" y="217"/>
                  </a:lnTo>
                  <a:lnTo>
                    <a:pt x="118" y="221"/>
                  </a:lnTo>
                  <a:lnTo>
                    <a:pt x="122" y="223"/>
                  </a:lnTo>
                  <a:lnTo>
                    <a:pt x="121" y="224"/>
                  </a:lnTo>
                  <a:lnTo>
                    <a:pt x="125" y="220"/>
                  </a:lnTo>
                  <a:lnTo>
                    <a:pt x="131" y="213"/>
                  </a:lnTo>
                  <a:lnTo>
                    <a:pt x="134" y="209"/>
                  </a:lnTo>
                  <a:lnTo>
                    <a:pt x="134" y="203"/>
                  </a:lnTo>
                  <a:lnTo>
                    <a:pt x="137" y="187"/>
                  </a:lnTo>
                  <a:lnTo>
                    <a:pt x="143" y="184"/>
                  </a:lnTo>
                  <a:lnTo>
                    <a:pt x="147" y="187"/>
                  </a:lnTo>
                  <a:lnTo>
                    <a:pt x="149" y="186"/>
                  </a:lnTo>
                  <a:lnTo>
                    <a:pt x="151" y="172"/>
                  </a:lnTo>
                  <a:lnTo>
                    <a:pt x="154" y="167"/>
                  </a:lnTo>
                  <a:lnTo>
                    <a:pt x="161" y="158"/>
                  </a:lnTo>
                  <a:lnTo>
                    <a:pt x="168" y="158"/>
                  </a:lnTo>
                  <a:lnTo>
                    <a:pt x="173" y="152"/>
                  </a:lnTo>
                  <a:lnTo>
                    <a:pt x="183" y="142"/>
                  </a:lnTo>
                  <a:lnTo>
                    <a:pt x="186" y="136"/>
                  </a:lnTo>
                  <a:lnTo>
                    <a:pt x="186" y="130"/>
                  </a:lnTo>
                  <a:lnTo>
                    <a:pt x="187" y="120"/>
                  </a:lnTo>
                  <a:lnTo>
                    <a:pt x="187" y="112"/>
                  </a:lnTo>
                  <a:lnTo>
                    <a:pt x="190" y="107"/>
                  </a:lnTo>
                  <a:lnTo>
                    <a:pt x="190" y="101"/>
                  </a:lnTo>
                  <a:lnTo>
                    <a:pt x="190" y="90"/>
                  </a:lnTo>
                  <a:lnTo>
                    <a:pt x="190" y="87"/>
                  </a:lnTo>
                  <a:lnTo>
                    <a:pt x="187" y="83"/>
                  </a:lnTo>
                  <a:lnTo>
                    <a:pt x="190" y="80"/>
                  </a:lnTo>
                  <a:lnTo>
                    <a:pt x="193" y="78"/>
                  </a:lnTo>
                  <a:lnTo>
                    <a:pt x="180" y="0"/>
                  </a:lnTo>
                  <a:lnTo>
                    <a:pt x="172" y="7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52">
              <a:extLst>
                <a:ext uri="{FF2B5EF4-FFF2-40B4-BE49-F238E27FC236}">
                  <a16:creationId xmlns:a16="http://schemas.microsoft.com/office/drawing/2014/main" id="{9CBC7012-2CEC-1453-8FA9-1F6B36143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26914" y="6585830"/>
              <a:ext cx="584659" cy="1005775"/>
            </a:xfrm>
            <a:custGeom>
              <a:avLst/>
              <a:gdLst>
                <a:gd name="T0" fmla="*/ 8 w 143"/>
                <a:gd name="T1" fmla="*/ 240 h 246"/>
                <a:gd name="T2" fmla="*/ 23 w 143"/>
                <a:gd name="T3" fmla="*/ 234 h 246"/>
                <a:gd name="T4" fmla="*/ 34 w 143"/>
                <a:gd name="T5" fmla="*/ 234 h 246"/>
                <a:gd name="T6" fmla="*/ 44 w 143"/>
                <a:gd name="T7" fmla="*/ 242 h 246"/>
                <a:gd name="T8" fmla="*/ 46 w 143"/>
                <a:gd name="T9" fmla="*/ 234 h 246"/>
                <a:gd name="T10" fmla="*/ 55 w 143"/>
                <a:gd name="T11" fmla="*/ 231 h 246"/>
                <a:gd name="T12" fmla="*/ 63 w 143"/>
                <a:gd name="T13" fmla="*/ 235 h 246"/>
                <a:gd name="T14" fmla="*/ 70 w 143"/>
                <a:gd name="T15" fmla="*/ 231 h 246"/>
                <a:gd name="T16" fmla="*/ 74 w 143"/>
                <a:gd name="T17" fmla="*/ 221 h 246"/>
                <a:gd name="T18" fmla="*/ 78 w 143"/>
                <a:gd name="T19" fmla="*/ 217 h 246"/>
                <a:gd name="T20" fmla="*/ 84 w 143"/>
                <a:gd name="T21" fmla="*/ 226 h 246"/>
                <a:gd name="T22" fmla="*/ 95 w 143"/>
                <a:gd name="T23" fmla="*/ 225 h 246"/>
                <a:gd name="T24" fmla="*/ 98 w 143"/>
                <a:gd name="T25" fmla="*/ 216 h 246"/>
                <a:gd name="T26" fmla="*/ 106 w 143"/>
                <a:gd name="T27" fmla="*/ 208 h 246"/>
                <a:gd name="T28" fmla="*/ 112 w 143"/>
                <a:gd name="T29" fmla="*/ 199 h 246"/>
                <a:gd name="T30" fmla="*/ 114 w 143"/>
                <a:gd name="T31" fmla="*/ 188 h 246"/>
                <a:gd name="T32" fmla="*/ 116 w 143"/>
                <a:gd name="T33" fmla="*/ 183 h 246"/>
                <a:gd name="T34" fmla="*/ 130 w 143"/>
                <a:gd name="T35" fmla="*/ 180 h 246"/>
                <a:gd name="T36" fmla="*/ 140 w 143"/>
                <a:gd name="T37" fmla="*/ 176 h 246"/>
                <a:gd name="T38" fmla="*/ 141 w 143"/>
                <a:gd name="T39" fmla="*/ 166 h 246"/>
                <a:gd name="T40" fmla="*/ 140 w 143"/>
                <a:gd name="T41" fmla="*/ 160 h 246"/>
                <a:gd name="T42" fmla="*/ 142 w 143"/>
                <a:gd name="T43" fmla="*/ 154 h 246"/>
                <a:gd name="T44" fmla="*/ 125 w 143"/>
                <a:gd name="T45" fmla="*/ 0 h 246"/>
                <a:gd name="T46" fmla="*/ 37 w 143"/>
                <a:gd name="T47" fmla="*/ 8 h 246"/>
                <a:gd name="T48" fmla="*/ 22 w 143"/>
                <a:gd name="T49" fmla="*/ 18 h 246"/>
                <a:gd name="T50" fmla="*/ 12 w 143"/>
                <a:gd name="T51" fmla="*/ 18 h 246"/>
                <a:gd name="T52" fmla="*/ 15 w 143"/>
                <a:gd name="T53" fmla="*/ 152 h 246"/>
                <a:gd name="T54" fmla="*/ 15 w 143"/>
                <a:gd name="T55" fmla="*/ 163 h 246"/>
                <a:gd name="T56" fmla="*/ 21 w 143"/>
                <a:gd name="T57" fmla="*/ 178 h 246"/>
                <a:gd name="T58" fmla="*/ 22 w 143"/>
                <a:gd name="T59" fmla="*/ 192 h 246"/>
                <a:gd name="T60" fmla="*/ 16 w 143"/>
                <a:gd name="T61" fmla="*/ 202 h 246"/>
                <a:gd name="T62" fmla="*/ 12 w 143"/>
                <a:gd name="T63" fmla="*/ 211 h 246"/>
                <a:gd name="T64" fmla="*/ 5 w 143"/>
                <a:gd name="T65" fmla="*/ 224 h 246"/>
                <a:gd name="T66" fmla="*/ 0 w 143"/>
                <a:gd name="T67" fmla="*/ 231 h 246"/>
                <a:gd name="T68" fmla="*/ 2 w 143"/>
                <a:gd name="T69" fmla="*/ 245 h 246"/>
                <a:gd name="T70" fmla="*/ 3 w 143"/>
                <a:gd name="T71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3" h="246">
                  <a:moveTo>
                    <a:pt x="7" y="246"/>
                  </a:moveTo>
                  <a:lnTo>
                    <a:pt x="8" y="240"/>
                  </a:lnTo>
                  <a:lnTo>
                    <a:pt x="19" y="239"/>
                  </a:lnTo>
                  <a:lnTo>
                    <a:pt x="23" y="234"/>
                  </a:lnTo>
                  <a:lnTo>
                    <a:pt x="27" y="234"/>
                  </a:lnTo>
                  <a:lnTo>
                    <a:pt x="34" y="234"/>
                  </a:lnTo>
                  <a:lnTo>
                    <a:pt x="40" y="238"/>
                  </a:lnTo>
                  <a:lnTo>
                    <a:pt x="44" y="242"/>
                  </a:lnTo>
                  <a:lnTo>
                    <a:pt x="46" y="240"/>
                  </a:lnTo>
                  <a:lnTo>
                    <a:pt x="46" y="234"/>
                  </a:lnTo>
                  <a:lnTo>
                    <a:pt x="51" y="234"/>
                  </a:lnTo>
                  <a:lnTo>
                    <a:pt x="55" y="231"/>
                  </a:lnTo>
                  <a:lnTo>
                    <a:pt x="60" y="231"/>
                  </a:lnTo>
                  <a:lnTo>
                    <a:pt x="63" y="235"/>
                  </a:lnTo>
                  <a:lnTo>
                    <a:pt x="69" y="236"/>
                  </a:lnTo>
                  <a:lnTo>
                    <a:pt x="70" y="231"/>
                  </a:lnTo>
                  <a:lnTo>
                    <a:pt x="71" y="226"/>
                  </a:lnTo>
                  <a:lnTo>
                    <a:pt x="74" y="221"/>
                  </a:lnTo>
                  <a:lnTo>
                    <a:pt x="76" y="217"/>
                  </a:lnTo>
                  <a:lnTo>
                    <a:pt x="78" y="217"/>
                  </a:lnTo>
                  <a:lnTo>
                    <a:pt x="80" y="221"/>
                  </a:lnTo>
                  <a:lnTo>
                    <a:pt x="84" y="226"/>
                  </a:lnTo>
                  <a:lnTo>
                    <a:pt x="86" y="227"/>
                  </a:lnTo>
                  <a:lnTo>
                    <a:pt x="95" y="225"/>
                  </a:lnTo>
                  <a:lnTo>
                    <a:pt x="97" y="220"/>
                  </a:lnTo>
                  <a:lnTo>
                    <a:pt x="98" y="216"/>
                  </a:lnTo>
                  <a:lnTo>
                    <a:pt x="102" y="209"/>
                  </a:lnTo>
                  <a:lnTo>
                    <a:pt x="106" y="208"/>
                  </a:lnTo>
                  <a:lnTo>
                    <a:pt x="109" y="205"/>
                  </a:lnTo>
                  <a:lnTo>
                    <a:pt x="112" y="199"/>
                  </a:lnTo>
                  <a:lnTo>
                    <a:pt x="114" y="194"/>
                  </a:lnTo>
                  <a:lnTo>
                    <a:pt x="114" y="188"/>
                  </a:lnTo>
                  <a:lnTo>
                    <a:pt x="116" y="186"/>
                  </a:lnTo>
                  <a:lnTo>
                    <a:pt x="116" y="183"/>
                  </a:lnTo>
                  <a:lnTo>
                    <a:pt x="116" y="181"/>
                  </a:lnTo>
                  <a:lnTo>
                    <a:pt x="130" y="180"/>
                  </a:lnTo>
                  <a:lnTo>
                    <a:pt x="134" y="176"/>
                  </a:lnTo>
                  <a:lnTo>
                    <a:pt x="140" y="176"/>
                  </a:lnTo>
                  <a:lnTo>
                    <a:pt x="143" y="174"/>
                  </a:lnTo>
                  <a:lnTo>
                    <a:pt x="141" y="166"/>
                  </a:lnTo>
                  <a:lnTo>
                    <a:pt x="143" y="163"/>
                  </a:lnTo>
                  <a:lnTo>
                    <a:pt x="140" y="160"/>
                  </a:lnTo>
                  <a:lnTo>
                    <a:pt x="138" y="155"/>
                  </a:lnTo>
                  <a:lnTo>
                    <a:pt x="142" y="154"/>
                  </a:lnTo>
                  <a:lnTo>
                    <a:pt x="127" y="3"/>
                  </a:lnTo>
                  <a:lnTo>
                    <a:pt x="125" y="0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18" y="20"/>
                  </a:lnTo>
                  <a:lnTo>
                    <a:pt x="12" y="18"/>
                  </a:lnTo>
                  <a:lnTo>
                    <a:pt x="17" y="148"/>
                  </a:lnTo>
                  <a:lnTo>
                    <a:pt x="15" y="152"/>
                  </a:lnTo>
                  <a:lnTo>
                    <a:pt x="14" y="157"/>
                  </a:lnTo>
                  <a:lnTo>
                    <a:pt x="15" y="163"/>
                  </a:lnTo>
                  <a:lnTo>
                    <a:pt x="16" y="169"/>
                  </a:lnTo>
                  <a:lnTo>
                    <a:pt x="21" y="178"/>
                  </a:lnTo>
                  <a:lnTo>
                    <a:pt x="24" y="188"/>
                  </a:lnTo>
                  <a:lnTo>
                    <a:pt x="22" y="192"/>
                  </a:lnTo>
                  <a:lnTo>
                    <a:pt x="19" y="196"/>
                  </a:lnTo>
                  <a:lnTo>
                    <a:pt x="16" y="202"/>
                  </a:lnTo>
                  <a:lnTo>
                    <a:pt x="15" y="208"/>
                  </a:lnTo>
                  <a:lnTo>
                    <a:pt x="12" y="211"/>
                  </a:lnTo>
                  <a:lnTo>
                    <a:pt x="6" y="216"/>
                  </a:lnTo>
                  <a:lnTo>
                    <a:pt x="5" y="224"/>
                  </a:lnTo>
                  <a:lnTo>
                    <a:pt x="3" y="227"/>
                  </a:lnTo>
                  <a:lnTo>
                    <a:pt x="0" y="231"/>
                  </a:lnTo>
                  <a:lnTo>
                    <a:pt x="1" y="239"/>
                  </a:lnTo>
                  <a:lnTo>
                    <a:pt x="2" y="245"/>
                  </a:lnTo>
                  <a:lnTo>
                    <a:pt x="2" y="246"/>
                  </a:lnTo>
                  <a:lnTo>
                    <a:pt x="3" y="246"/>
                  </a:lnTo>
                  <a:lnTo>
                    <a:pt x="7" y="246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53">
              <a:extLst>
                <a:ext uri="{FF2B5EF4-FFF2-40B4-BE49-F238E27FC236}">
                  <a16:creationId xmlns:a16="http://schemas.microsoft.com/office/drawing/2014/main" id="{C82F3C94-7C63-397E-BC70-64FB4495C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4574" y="6459087"/>
              <a:ext cx="760464" cy="1324679"/>
            </a:xfrm>
            <a:custGeom>
              <a:avLst/>
              <a:gdLst>
                <a:gd name="T0" fmla="*/ 126 w 186"/>
                <a:gd name="T1" fmla="*/ 312 h 324"/>
                <a:gd name="T2" fmla="*/ 139 w 186"/>
                <a:gd name="T3" fmla="*/ 318 h 324"/>
                <a:gd name="T4" fmla="*/ 147 w 186"/>
                <a:gd name="T5" fmla="*/ 318 h 324"/>
                <a:gd name="T6" fmla="*/ 147 w 186"/>
                <a:gd name="T7" fmla="*/ 310 h 324"/>
                <a:gd name="T8" fmla="*/ 150 w 186"/>
                <a:gd name="T9" fmla="*/ 300 h 324"/>
                <a:gd name="T10" fmla="*/ 163 w 186"/>
                <a:gd name="T11" fmla="*/ 294 h 324"/>
                <a:gd name="T12" fmla="*/ 160 w 186"/>
                <a:gd name="T13" fmla="*/ 287 h 324"/>
                <a:gd name="T14" fmla="*/ 161 w 186"/>
                <a:gd name="T15" fmla="*/ 280 h 324"/>
                <a:gd name="T16" fmla="*/ 164 w 186"/>
                <a:gd name="T17" fmla="*/ 277 h 324"/>
                <a:gd name="T18" fmla="*/ 163 w 186"/>
                <a:gd name="T19" fmla="*/ 270 h 324"/>
                <a:gd name="T20" fmla="*/ 165 w 186"/>
                <a:gd name="T21" fmla="*/ 258 h 324"/>
                <a:gd name="T22" fmla="*/ 168 w 186"/>
                <a:gd name="T23" fmla="*/ 247 h 324"/>
                <a:gd name="T24" fmla="*/ 177 w 186"/>
                <a:gd name="T25" fmla="*/ 239 h 324"/>
                <a:gd name="T26" fmla="*/ 181 w 186"/>
                <a:gd name="T27" fmla="*/ 227 h 324"/>
                <a:gd name="T28" fmla="*/ 186 w 186"/>
                <a:gd name="T29" fmla="*/ 219 h 324"/>
                <a:gd name="T30" fmla="*/ 178 w 186"/>
                <a:gd name="T31" fmla="*/ 200 h 324"/>
                <a:gd name="T32" fmla="*/ 176 w 186"/>
                <a:gd name="T33" fmla="*/ 188 h 324"/>
                <a:gd name="T34" fmla="*/ 179 w 186"/>
                <a:gd name="T35" fmla="*/ 179 h 324"/>
                <a:gd name="T36" fmla="*/ 174 w 186"/>
                <a:gd name="T37" fmla="*/ 49 h 324"/>
                <a:gd name="T38" fmla="*/ 166 w 186"/>
                <a:gd name="T39" fmla="*/ 37 h 324"/>
                <a:gd name="T40" fmla="*/ 162 w 186"/>
                <a:gd name="T41" fmla="*/ 25 h 324"/>
                <a:gd name="T42" fmla="*/ 154 w 186"/>
                <a:gd name="T43" fmla="*/ 5 h 324"/>
                <a:gd name="T44" fmla="*/ 34 w 186"/>
                <a:gd name="T45" fmla="*/ 7 h 324"/>
                <a:gd name="T46" fmla="*/ 32 w 186"/>
                <a:gd name="T47" fmla="*/ 5 h 324"/>
                <a:gd name="T48" fmla="*/ 30 w 186"/>
                <a:gd name="T49" fmla="*/ 12 h 324"/>
                <a:gd name="T50" fmla="*/ 41 w 186"/>
                <a:gd name="T51" fmla="*/ 21 h 324"/>
                <a:gd name="T52" fmla="*/ 55 w 186"/>
                <a:gd name="T53" fmla="*/ 34 h 324"/>
                <a:gd name="T54" fmla="*/ 53 w 186"/>
                <a:gd name="T55" fmla="*/ 46 h 324"/>
                <a:gd name="T56" fmla="*/ 45 w 186"/>
                <a:gd name="T57" fmla="*/ 62 h 324"/>
                <a:gd name="T58" fmla="*/ 38 w 186"/>
                <a:gd name="T59" fmla="*/ 68 h 324"/>
                <a:gd name="T60" fmla="*/ 23 w 186"/>
                <a:gd name="T61" fmla="*/ 71 h 324"/>
                <a:gd name="T62" fmla="*/ 17 w 186"/>
                <a:gd name="T63" fmla="*/ 79 h 324"/>
                <a:gd name="T64" fmla="*/ 23 w 186"/>
                <a:gd name="T65" fmla="*/ 93 h 324"/>
                <a:gd name="T66" fmla="*/ 20 w 186"/>
                <a:gd name="T67" fmla="*/ 101 h 324"/>
                <a:gd name="T68" fmla="*/ 16 w 186"/>
                <a:gd name="T69" fmla="*/ 110 h 324"/>
                <a:gd name="T70" fmla="*/ 4 w 186"/>
                <a:gd name="T71" fmla="*/ 123 h 324"/>
                <a:gd name="T72" fmla="*/ 0 w 186"/>
                <a:gd name="T73" fmla="*/ 136 h 324"/>
                <a:gd name="T74" fmla="*/ 0 w 186"/>
                <a:gd name="T75" fmla="*/ 163 h 324"/>
                <a:gd name="T76" fmla="*/ 30 w 186"/>
                <a:gd name="T77" fmla="*/ 195 h 324"/>
                <a:gd name="T78" fmla="*/ 37 w 186"/>
                <a:gd name="T79" fmla="*/ 214 h 324"/>
                <a:gd name="T80" fmla="*/ 45 w 186"/>
                <a:gd name="T81" fmla="*/ 217 h 324"/>
                <a:gd name="T82" fmla="*/ 56 w 186"/>
                <a:gd name="T83" fmla="*/ 214 h 324"/>
                <a:gd name="T84" fmla="*/ 64 w 186"/>
                <a:gd name="T85" fmla="*/ 224 h 324"/>
                <a:gd name="T86" fmla="*/ 59 w 186"/>
                <a:gd name="T87" fmla="*/ 239 h 324"/>
                <a:gd name="T88" fmla="*/ 56 w 186"/>
                <a:gd name="T89" fmla="*/ 251 h 324"/>
                <a:gd name="T90" fmla="*/ 64 w 186"/>
                <a:gd name="T91" fmla="*/ 266 h 324"/>
                <a:gd name="T92" fmla="*/ 77 w 186"/>
                <a:gd name="T93" fmla="*/ 271 h 324"/>
                <a:gd name="T94" fmla="*/ 97 w 186"/>
                <a:gd name="T95" fmla="*/ 286 h 324"/>
                <a:gd name="T96" fmla="*/ 101 w 186"/>
                <a:gd name="T97" fmla="*/ 307 h 324"/>
                <a:gd name="T98" fmla="*/ 106 w 186"/>
                <a:gd name="T99" fmla="*/ 318 h 324"/>
                <a:gd name="T100" fmla="*/ 109 w 186"/>
                <a:gd name="T101" fmla="*/ 318 h 324"/>
                <a:gd name="T102" fmla="*/ 119 w 186"/>
                <a:gd name="T103" fmla="*/ 316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" h="324">
                  <a:moveTo>
                    <a:pt x="123" y="313"/>
                  </a:moveTo>
                  <a:lnTo>
                    <a:pt x="126" y="312"/>
                  </a:lnTo>
                  <a:lnTo>
                    <a:pt x="132" y="314"/>
                  </a:lnTo>
                  <a:lnTo>
                    <a:pt x="139" y="318"/>
                  </a:lnTo>
                  <a:lnTo>
                    <a:pt x="142" y="318"/>
                  </a:lnTo>
                  <a:lnTo>
                    <a:pt x="147" y="318"/>
                  </a:lnTo>
                  <a:lnTo>
                    <a:pt x="149" y="316"/>
                  </a:lnTo>
                  <a:lnTo>
                    <a:pt x="147" y="310"/>
                  </a:lnTo>
                  <a:lnTo>
                    <a:pt x="146" y="303"/>
                  </a:lnTo>
                  <a:lnTo>
                    <a:pt x="150" y="300"/>
                  </a:lnTo>
                  <a:lnTo>
                    <a:pt x="159" y="297"/>
                  </a:lnTo>
                  <a:lnTo>
                    <a:pt x="163" y="294"/>
                  </a:lnTo>
                  <a:lnTo>
                    <a:pt x="162" y="291"/>
                  </a:lnTo>
                  <a:lnTo>
                    <a:pt x="160" y="287"/>
                  </a:lnTo>
                  <a:lnTo>
                    <a:pt x="160" y="284"/>
                  </a:lnTo>
                  <a:lnTo>
                    <a:pt x="161" y="280"/>
                  </a:lnTo>
                  <a:lnTo>
                    <a:pt x="165" y="277"/>
                  </a:lnTo>
                  <a:lnTo>
                    <a:pt x="164" y="277"/>
                  </a:lnTo>
                  <a:lnTo>
                    <a:pt x="164" y="276"/>
                  </a:lnTo>
                  <a:lnTo>
                    <a:pt x="163" y="270"/>
                  </a:lnTo>
                  <a:lnTo>
                    <a:pt x="162" y="262"/>
                  </a:lnTo>
                  <a:lnTo>
                    <a:pt x="165" y="258"/>
                  </a:lnTo>
                  <a:lnTo>
                    <a:pt x="167" y="255"/>
                  </a:lnTo>
                  <a:lnTo>
                    <a:pt x="168" y="247"/>
                  </a:lnTo>
                  <a:lnTo>
                    <a:pt x="174" y="242"/>
                  </a:lnTo>
                  <a:lnTo>
                    <a:pt x="177" y="239"/>
                  </a:lnTo>
                  <a:lnTo>
                    <a:pt x="178" y="233"/>
                  </a:lnTo>
                  <a:lnTo>
                    <a:pt x="181" y="227"/>
                  </a:lnTo>
                  <a:lnTo>
                    <a:pt x="184" y="223"/>
                  </a:lnTo>
                  <a:lnTo>
                    <a:pt x="186" y="219"/>
                  </a:lnTo>
                  <a:lnTo>
                    <a:pt x="183" y="209"/>
                  </a:lnTo>
                  <a:lnTo>
                    <a:pt x="178" y="200"/>
                  </a:lnTo>
                  <a:lnTo>
                    <a:pt x="177" y="194"/>
                  </a:lnTo>
                  <a:lnTo>
                    <a:pt x="176" y="188"/>
                  </a:lnTo>
                  <a:lnTo>
                    <a:pt x="177" y="183"/>
                  </a:lnTo>
                  <a:lnTo>
                    <a:pt x="179" y="179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0" y="45"/>
                  </a:lnTo>
                  <a:lnTo>
                    <a:pt x="166" y="37"/>
                  </a:lnTo>
                  <a:lnTo>
                    <a:pt x="164" y="34"/>
                  </a:lnTo>
                  <a:lnTo>
                    <a:pt x="162" y="25"/>
                  </a:lnTo>
                  <a:lnTo>
                    <a:pt x="157" y="20"/>
                  </a:lnTo>
                  <a:lnTo>
                    <a:pt x="154" y="5"/>
                  </a:lnTo>
                  <a:lnTo>
                    <a:pt x="153" y="0"/>
                  </a:lnTo>
                  <a:lnTo>
                    <a:pt x="34" y="7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0" y="9"/>
                  </a:lnTo>
                  <a:lnTo>
                    <a:pt x="30" y="12"/>
                  </a:lnTo>
                  <a:lnTo>
                    <a:pt x="35" y="16"/>
                  </a:lnTo>
                  <a:lnTo>
                    <a:pt x="41" y="21"/>
                  </a:lnTo>
                  <a:lnTo>
                    <a:pt x="48" y="27"/>
                  </a:lnTo>
                  <a:lnTo>
                    <a:pt x="55" y="34"/>
                  </a:lnTo>
                  <a:lnTo>
                    <a:pt x="55" y="37"/>
                  </a:lnTo>
                  <a:lnTo>
                    <a:pt x="53" y="46"/>
                  </a:lnTo>
                  <a:lnTo>
                    <a:pt x="48" y="51"/>
                  </a:lnTo>
                  <a:lnTo>
                    <a:pt x="45" y="62"/>
                  </a:lnTo>
                  <a:lnTo>
                    <a:pt x="41" y="65"/>
                  </a:lnTo>
                  <a:lnTo>
                    <a:pt x="38" y="68"/>
                  </a:lnTo>
                  <a:lnTo>
                    <a:pt x="30" y="71"/>
                  </a:lnTo>
                  <a:lnTo>
                    <a:pt x="23" y="71"/>
                  </a:lnTo>
                  <a:lnTo>
                    <a:pt x="17" y="74"/>
                  </a:lnTo>
                  <a:lnTo>
                    <a:pt x="17" y="79"/>
                  </a:lnTo>
                  <a:lnTo>
                    <a:pt x="17" y="84"/>
                  </a:lnTo>
                  <a:lnTo>
                    <a:pt x="23" y="93"/>
                  </a:lnTo>
                  <a:lnTo>
                    <a:pt x="24" y="97"/>
                  </a:lnTo>
                  <a:lnTo>
                    <a:pt x="20" y="101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2" y="115"/>
                  </a:lnTo>
                  <a:lnTo>
                    <a:pt x="4" y="123"/>
                  </a:lnTo>
                  <a:lnTo>
                    <a:pt x="5" y="133"/>
                  </a:lnTo>
                  <a:lnTo>
                    <a:pt x="0" y="136"/>
                  </a:lnTo>
                  <a:lnTo>
                    <a:pt x="0" y="149"/>
                  </a:lnTo>
                  <a:lnTo>
                    <a:pt x="0" y="163"/>
                  </a:lnTo>
                  <a:lnTo>
                    <a:pt x="8" y="177"/>
                  </a:lnTo>
                  <a:lnTo>
                    <a:pt x="30" y="195"/>
                  </a:lnTo>
                  <a:lnTo>
                    <a:pt x="37" y="203"/>
                  </a:lnTo>
                  <a:lnTo>
                    <a:pt x="37" y="214"/>
                  </a:lnTo>
                  <a:lnTo>
                    <a:pt x="42" y="221"/>
                  </a:lnTo>
                  <a:lnTo>
                    <a:pt x="45" y="217"/>
                  </a:lnTo>
                  <a:lnTo>
                    <a:pt x="48" y="214"/>
                  </a:lnTo>
                  <a:lnTo>
                    <a:pt x="56" y="214"/>
                  </a:lnTo>
                  <a:lnTo>
                    <a:pt x="61" y="219"/>
                  </a:lnTo>
                  <a:lnTo>
                    <a:pt x="64" y="224"/>
                  </a:lnTo>
                  <a:lnTo>
                    <a:pt x="61" y="232"/>
                  </a:lnTo>
                  <a:lnTo>
                    <a:pt x="59" y="239"/>
                  </a:lnTo>
                  <a:lnTo>
                    <a:pt x="58" y="244"/>
                  </a:lnTo>
                  <a:lnTo>
                    <a:pt x="56" y="251"/>
                  </a:lnTo>
                  <a:lnTo>
                    <a:pt x="56" y="258"/>
                  </a:lnTo>
                  <a:lnTo>
                    <a:pt x="64" y="266"/>
                  </a:lnTo>
                  <a:lnTo>
                    <a:pt x="73" y="272"/>
                  </a:lnTo>
                  <a:lnTo>
                    <a:pt x="77" y="271"/>
                  </a:lnTo>
                  <a:lnTo>
                    <a:pt x="92" y="281"/>
                  </a:lnTo>
                  <a:lnTo>
                    <a:pt x="97" y="286"/>
                  </a:lnTo>
                  <a:lnTo>
                    <a:pt x="102" y="299"/>
                  </a:lnTo>
                  <a:lnTo>
                    <a:pt x="101" y="307"/>
                  </a:lnTo>
                  <a:lnTo>
                    <a:pt x="99" y="311"/>
                  </a:lnTo>
                  <a:lnTo>
                    <a:pt x="106" y="318"/>
                  </a:lnTo>
                  <a:lnTo>
                    <a:pt x="106" y="324"/>
                  </a:lnTo>
                  <a:lnTo>
                    <a:pt x="109" y="318"/>
                  </a:lnTo>
                  <a:lnTo>
                    <a:pt x="116" y="318"/>
                  </a:lnTo>
                  <a:lnTo>
                    <a:pt x="119" y="316"/>
                  </a:lnTo>
                  <a:lnTo>
                    <a:pt x="123" y="31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54">
              <a:extLst>
                <a:ext uri="{FF2B5EF4-FFF2-40B4-BE49-F238E27FC236}">
                  <a16:creationId xmlns:a16="http://schemas.microsoft.com/office/drawing/2014/main" id="{CC9DD638-2455-7B7D-C088-B65E218DE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4659" y="6168801"/>
              <a:ext cx="1144784" cy="842234"/>
            </a:xfrm>
            <a:custGeom>
              <a:avLst/>
              <a:gdLst>
                <a:gd name="T0" fmla="*/ 1354 w 1599"/>
                <a:gd name="T1" fmla="*/ 1067 h 1179"/>
                <a:gd name="T2" fmla="*/ 1392 w 1599"/>
                <a:gd name="T3" fmla="*/ 1034 h 1179"/>
                <a:gd name="T4" fmla="*/ 1427 w 1599"/>
                <a:gd name="T5" fmla="*/ 960 h 1179"/>
                <a:gd name="T6" fmla="*/ 1384 w 1599"/>
                <a:gd name="T7" fmla="*/ 885 h 1179"/>
                <a:gd name="T8" fmla="*/ 1386 w 1599"/>
                <a:gd name="T9" fmla="*/ 829 h 1179"/>
                <a:gd name="T10" fmla="*/ 1460 w 1599"/>
                <a:gd name="T11" fmla="*/ 814 h 1179"/>
                <a:gd name="T12" fmla="*/ 1523 w 1599"/>
                <a:gd name="T13" fmla="*/ 781 h 1179"/>
                <a:gd name="T14" fmla="*/ 1563 w 1599"/>
                <a:gd name="T15" fmla="*/ 698 h 1179"/>
                <a:gd name="T16" fmla="*/ 1599 w 1599"/>
                <a:gd name="T17" fmla="*/ 620 h 1179"/>
                <a:gd name="T18" fmla="*/ 1560 w 1599"/>
                <a:gd name="T19" fmla="*/ 559 h 1179"/>
                <a:gd name="T20" fmla="*/ 1488 w 1599"/>
                <a:gd name="T21" fmla="*/ 497 h 1179"/>
                <a:gd name="T22" fmla="*/ 1460 w 1599"/>
                <a:gd name="T23" fmla="*/ 457 h 1179"/>
                <a:gd name="T24" fmla="*/ 1480 w 1599"/>
                <a:gd name="T25" fmla="*/ 446 h 1179"/>
                <a:gd name="T26" fmla="*/ 1429 w 1599"/>
                <a:gd name="T27" fmla="*/ 404 h 1179"/>
                <a:gd name="T28" fmla="*/ 1358 w 1599"/>
                <a:gd name="T29" fmla="*/ 379 h 1179"/>
                <a:gd name="T30" fmla="*/ 1345 w 1599"/>
                <a:gd name="T31" fmla="*/ 308 h 1179"/>
                <a:gd name="T32" fmla="*/ 1345 w 1599"/>
                <a:gd name="T33" fmla="*/ 244 h 1179"/>
                <a:gd name="T34" fmla="*/ 1327 w 1599"/>
                <a:gd name="T35" fmla="*/ 171 h 1179"/>
                <a:gd name="T36" fmla="*/ 47 w 1599"/>
                <a:gd name="T37" fmla="*/ 151 h 1179"/>
                <a:gd name="T38" fmla="*/ 52 w 1599"/>
                <a:gd name="T39" fmla="*/ 0 h 1179"/>
                <a:gd name="T40" fmla="*/ 23 w 1599"/>
                <a:gd name="T41" fmla="*/ 155 h 1179"/>
                <a:gd name="T42" fmla="*/ 17 w 1599"/>
                <a:gd name="T43" fmla="*/ 211 h 1179"/>
                <a:gd name="T44" fmla="*/ 47 w 1599"/>
                <a:gd name="T45" fmla="*/ 254 h 1179"/>
                <a:gd name="T46" fmla="*/ 32 w 1599"/>
                <a:gd name="T47" fmla="*/ 286 h 1179"/>
                <a:gd name="T48" fmla="*/ 27 w 1599"/>
                <a:gd name="T49" fmla="*/ 360 h 1179"/>
                <a:gd name="T50" fmla="*/ 0 w 1599"/>
                <a:gd name="T51" fmla="*/ 386 h 1179"/>
                <a:gd name="T52" fmla="*/ 27 w 1599"/>
                <a:gd name="T53" fmla="*/ 428 h 1179"/>
                <a:gd name="T54" fmla="*/ 27 w 1599"/>
                <a:gd name="T55" fmla="*/ 474 h 1179"/>
                <a:gd name="T56" fmla="*/ 37 w 1599"/>
                <a:gd name="T57" fmla="*/ 488 h 1179"/>
                <a:gd name="T58" fmla="*/ 80 w 1599"/>
                <a:gd name="T59" fmla="*/ 591 h 1179"/>
                <a:gd name="T60" fmla="*/ 111 w 1599"/>
                <a:gd name="T61" fmla="*/ 663 h 1179"/>
                <a:gd name="T62" fmla="*/ 128 w 1599"/>
                <a:gd name="T63" fmla="*/ 704 h 1179"/>
                <a:gd name="T64" fmla="*/ 138 w 1599"/>
                <a:gd name="T65" fmla="*/ 722 h 1179"/>
                <a:gd name="T66" fmla="*/ 124 w 1599"/>
                <a:gd name="T67" fmla="*/ 753 h 1179"/>
                <a:gd name="T68" fmla="*/ 138 w 1599"/>
                <a:gd name="T69" fmla="*/ 803 h 1179"/>
                <a:gd name="T70" fmla="*/ 168 w 1599"/>
                <a:gd name="T71" fmla="*/ 818 h 1179"/>
                <a:gd name="T72" fmla="*/ 179 w 1599"/>
                <a:gd name="T73" fmla="*/ 931 h 1179"/>
                <a:gd name="T74" fmla="*/ 185 w 1599"/>
                <a:gd name="T75" fmla="*/ 982 h 1179"/>
                <a:gd name="T76" fmla="*/ 195 w 1599"/>
                <a:gd name="T77" fmla="*/ 1069 h 1179"/>
                <a:gd name="T78" fmla="*/ 206 w 1599"/>
                <a:gd name="T79" fmla="*/ 1119 h 1179"/>
                <a:gd name="T80" fmla="*/ 1299 w 1599"/>
                <a:gd name="T81" fmla="*/ 1179 h 1179"/>
                <a:gd name="T82" fmla="*/ 1309 w 1599"/>
                <a:gd name="T83" fmla="*/ 1112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99" h="1179">
                  <a:moveTo>
                    <a:pt x="1309" y="1112"/>
                  </a:moveTo>
                  <a:cubicBezTo>
                    <a:pt x="1354" y="1067"/>
                    <a:pt x="1354" y="1067"/>
                    <a:pt x="1354" y="1067"/>
                  </a:cubicBezTo>
                  <a:cubicBezTo>
                    <a:pt x="1378" y="1034"/>
                    <a:pt x="1378" y="1034"/>
                    <a:pt x="1378" y="1034"/>
                  </a:cubicBezTo>
                  <a:cubicBezTo>
                    <a:pt x="1392" y="1034"/>
                    <a:pt x="1392" y="1034"/>
                    <a:pt x="1392" y="1034"/>
                  </a:cubicBezTo>
                  <a:cubicBezTo>
                    <a:pt x="1400" y="984"/>
                    <a:pt x="1400" y="984"/>
                    <a:pt x="1400" y="984"/>
                  </a:cubicBezTo>
                  <a:cubicBezTo>
                    <a:pt x="1427" y="960"/>
                    <a:pt x="1427" y="960"/>
                    <a:pt x="1427" y="960"/>
                  </a:cubicBezTo>
                  <a:cubicBezTo>
                    <a:pt x="1416" y="938"/>
                    <a:pt x="1416" y="938"/>
                    <a:pt x="1416" y="938"/>
                  </a:cubicBezTo>
                  <a:cubicBezTo>
                    <a:pt x="1384" y="885"/>
                    <a:pt x="1384" y="885"/>
                    <a:pt x="1384" y="885"/>
                  </a:cubicBezTo>
                  <a:cubicBezTo>
                    <a:pt x="1384" y="858"/>
                    <a:pt x="1384" y="858"/>
                    <a:pt x="1384" y="858"/>
                  </a:cubicBezTo>
                  <a:cubicBezTo>
                    <a:pt x="1386" y="829"/>
                    <a:pt x="1386" y="829"/>
                    <a:pt x="1386" y="829"/>
                  </a:cubicBezTo>
                  <a:cubicBezTo>
                    <a:pt x="1416" y="814"/>
                    <a:pt x="1416" y="814"/>
                    <a:pt x="1416" y="814"/>
                  </a:cubicBezTo>
                  <a:cubicBezTo>
                    <a:pt x="1460" y="814"/>
                    <a:pt x="1460" y="814"/>
                    <a:pt x="1460" y="814"/>
                  </a:cubicBezTo>
                  <a:cubicBezTo>
                    <a:pt x="1507" y="794"/>
                    <a:pt x="1507" y="794"/>
                    <a:pt x="1507" y="794"/>
                  </a:cubicBezTo>
                  <a:cubicBezTo>
                    <a:pt x="1523" y="781"/>
                    <a:pt x="1523" y="781"/>
                    <a:pt x="1523" y="781"/>
                  </a:cubicBezTo>
                  <a:cubicBezTo>
                    <a:pt x="1547" y="759"/>
                    <a:pt x="1547" y="759"/>
                    <a:pt x="1547" y="759"/>
                  </a:cubicBezTo>
                  <a:cubicBezTo>
                    <a:pt x="1563" y="698"/>
                    <a:pt x="1563" y="698"/>
                    <a:pt x="1563" y="698"/>
                  </a:cubicBezTo>
                  <a:cubicBezTo>
                    <a:pt x="1589" y="668"/>
                    <a:pt x="1589" y="668"/>
                    <a:pt x="1589" y="668"/>
                  </a:cubicBezTo>
                  <a:cubicBezTo>
                    <a:pt x="1599" y="620"/>
                    <a:pt x="1599" y="620"/>
                    <a:pt x="1599" y="620"/>
                  </a:cubicBezTo>
                  <a:cubicBezTo>
                    <a:pt x="1599" y="601"/>
                    <a:pt x="1599" y="601"/>
                    <a:pt x="1599" y="601"/>
                  </a:cubicBezTo>
                  <a:cubicBezTo>
                    <a:pt x="1560" y="559"/>
                    <a:pt x="1560" y="559"/>
                    <a:pt x="1560" y="559"/>
                  </a:cubicBezTo>
                  <a:cubicBezTo>
                    <a:pt x="1520" y="527"/>
                    <a:pt x="1520" y="527"/>
                    <a:pt x="1520" y="527"/>
                  </a:cubicBezTo>
                  <a:cubicBezTo>
                    <a:pt x="1488" y="497"/>
                    <a:pt x="1488" y="497"/>
                    <a:pt x="1488" y="497"/>
                  </a:cubicBezTo>
                  <a:cubicBezTo>
                    <a:pt x="1460" y="476"/>
                    <a:pt x="1460" y="476"/>
                    <a:pt x="1460" y="476"/>
                  </a:cubicBezTo>
                  <a:cubicBezTo>
                    <a:pt x="1460" y="457"/>
                    <a:pt x="1460" y="457"/>
                    <a:pt x="1460" y="457"/>
                  </a:cubicBezTo>
                  <a:cubicBezTo>
                    <a:pt x="1470" y="433"/>
                    <a:pt x="1470" y="433"/>
                    <a:pt x="1470" y="433"/>
                  </a:cubicBezTo>
                  <a:cubicBezTo>
                    <a:pt x="1480" y="446"/>
                    <a:pt x="1480" y="446"/>
                    <a:pt x="1480" y="446"/>
                  </a:cubicBezTo>
                  <a:cubicBezTo>
                    <a:pt x="1460" y="421"/>
                    <a:pt x="1460" y="421"/>
                    <a:pt x="1460" y="421"/>
                  </a:cubicBezTo>
                  <a:cubicBezTo>
                    <a:pt x="1460" y="421"/>
                    <a:pt x="1436" y="404"/>
                    <a:pt x="1429" y="404"/>
                  </a:cubicBezTo>
                  <a:cubicBezTo>
                    <a:pt x="1423" y="404"/>
                    <a:pt x="1394" y="379"/>
                    <a:pt x="1394" y="379"/>
                  </a:cubicBezTo>
                  <a:cubicBezTo>
                    <a:pt x="1358" y="379"/>
                    <a:pt x="1358" y="379"/>
                    <a:pt x="1358" y="379"/>
                  </a:cubicBezTo>
                  <a:cubicBezTo>
                    <a:pt x="1358" y="348"/>
                    <a:pt x="1358" y="348"/>
                    <a:pt x="1358" y="348"/>
                  </a:cubicBezTo>
                  <a:cubicBezTo>
                    <a:pt x="1345" y="308"/>
                    <a:pt x="1345" y="308"/>
                    <a:pt x="1345" y="308"/>
                  </a:cubicBezTo>
                  <a:cubicBezTo>
                    <a:pt x="1345" y="268"/>
                    <a:pt x="1345" y="268"/>
                    <a:pt x="1345" y="268"/>
                  </a:cubicBezTo>
                  <a:cubicBezTo>
                    <a:pt x="1345" y="244"/>
                    <a:pt x="1345" y="244"/>
                    <a:pt x="1345" y="244"/>
                  </a:cubicBezTo>
                  <a:cubicBezTo>
                    <a:pt x="1345" y="195"/>
                    <a:pt x="1345" y="195"/>
                    <a:pt x="1345" y="195"/>
                  </a:cubicBezTo>
                  <a:cubicBezTo>
                    <a:pt x="1327" y="171"/>
                    <a:pt x="1327" y="171"/>
                    <a:pt x="1327" y="171"/>
                  </a:cubicBezTo>
                  <a:cubicBezTo>
                    <a:pt x="1311" y="126"/>
                    <a:pt x="1311" y="126"/>
                    <a:pt x="1311" y="126"/>
                  </a:cubicBezTo>
                  <a:cubicBezTo>
                    <a:pt x="47" y="151"/>
                    <a:pt x="47" y="151"/>
                    <a:pt x="47" y="15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23" y="155"/>
                    <a:pt x="23" y="155"/>
                    <a:pt x="23" y="155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30" y="218"/>
                    <a:pt x="30" y="218"/>
                    <a:pt x="30" y="218"/>
                  </a:cubicBezTo>
                  <a:cubicBezTo>
                    <a:pt x="47" y="254"/>
                    <a:pt x="47" y="254"/>
                    <a:pt x="47" y="254"/>
                  </a:cubicBezTo>
                  <a:cubicBezTo>
                    <a:pt x="47" y="280"/>
                    <a:pt x="47" y="280"/>
                    <a:pt x="47" y="280"/>
                  </a:cubicBezTo>
                  <a:cubicBezTo>
                    <a:pt x="32" y="286"/>
                    <a:pt x="32" y="286"/>
                    <a:pt x="32" y="286"/>
                  </a:cubicBezTo>
                  <a:cubicBezTo>
                    <a:pt x="27" y="313"/>
                    <a:pt x="27" y="313"/>
                    <a:pt x="27" y="313"/>
                  </a:cubicBezTo>
                  <a:cubicBezTo>
                    <a:pt x="27" y="360"/>
                    <a:pt x="27" y="360"/>
                    <a:pt x="27" y="360"/>
                  </a:cubicBezTo>
                  <a:cubicBezTo>
                    <a:pt x="9" y="365"/>
                    <a:pt x="9" y="365"/>
                    <a:pt x="9" y="365"/>
                  </a:cubicBezTo>
                  <a:cubicBezTo>
                    <a:pt x="0" y="386"/>
                    <a:pt x="0" y="386"/>
                    <a:pt x="0" y="386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27" y="428"/>
                    <a:pt x="27" y="428"/>
                    <a:pt x="27" y="428"/>
                  </a:cubicBezTo>
                  <a:cubicBezTo>
                    <a:pt x="27" y="458"/>
                    <a:pt x="27" y="458"/>
                    <a:pt x="27" y="458"/>
                  </a:cubicBezTo>
                  <a:cubicBezTo>
                    <a:pt x="27" y="474"/>
                    <a:pt x="27" y="474"/>
                    <a:pt x="27" y="474"/>
                  </a:cubicBezTo>
                  <a:cubicBezTo>
                    <a:pt x="18" y="462"/>
                    <a:pt x="18" y="462"/>
                    <a:pt x="18" y="462"/>
                  </a:cubicBezTo>
                  <a:cubicBezTo>
                    <a:pt x="37" y="488"/>
                    <a:pt x="37" y="488"/>
                    <a:pt x="37" y="488"/>
                  </a:cubicBezTo>
                  <a:cubicBezTo>
                    <a:pt x="61" y="550"/>
                    <a:pt x="61" y="550"/>
                    <a:pt x="61" y="550"/>
                  </a:cubicBezTo>
                  <a:cubicBezTo>
                    <a:pt x="80" y="591"/>
                    <a:pt x="80" y="591"/>
                    <a:pt x="80" y="591"/>
                  </a:cubicBezTo>
                  <a:cubicBezTo>
                    <a:pt x="97" y="631"/>
                    <a:pt x="97" y="631"/>
                    <a:pt x="97" y="631"/>
                  </a:cubicBezTo>
                  <a:cubicBezTo>
                    <a:pt x="111" y="663"/>
                    <a:pt x="111" y="663"/>
                    <a:pt x="111" y="663"/>
                  </a:cubicBezTo>
                  <a:cubicBezTo>
                    <a:pt x="120" y="684"/>
                    <a:pt x="120" y="684"/>
                    <a:pt x="120" y="684"/>
                  </a:cubicBezTo>
                  <a:cubicBezTo>
                    <a:pt x="128" y="704"/>
                    <a:pt x="128" y="704"/>
                    <a:pt x="128" y="704"/>
                  </a:cubicBezTo>
                  <a:cubicBezTo>
                    <a:pt x="138" y="713"/>
                    <a:pt x="138" y="713"/>
                    <a:pt x="138" y="713"/>
                  </a:cubicBezTo>
                  <a:cubicBezTo>
                    <a:pt x="138" y="722"/>
                    <a:pt x="138" y="722"/>
                    <a:pt x="138" y="722"/>
                  </a:cubicBezTo>
                  <a:cubicBezTo>
                    <a:pt x="118" y="727"/>
                    <a:pt x="118" y="727"/>
                    <a:pt x="118" y="727"/>
                  </a:cubicBezTo>
                  <a:cubicBezTo>
                    <a:pt x="124" y="753"/>
                    <a:pt x="124" y="753"/>
                    <a:pt x="124" y="753"/>
                  </a:cubicBezTo>
                  <a:cubicBezTo>
                    <a:pt x="131" y="785"/>
                    <a:pt x="131" y="785"/>
                    <a:pt x="131" y="785"/>
                  </a:cubicBezTo>
                  <a:cubicBezTo>
                    <a:pt x="138" y="803"/>
                    <a:pt x="138" y="803"/>
                    <a:pt x="138" y="803"/>
                  </a:cubicBezTo>
                  <a:cubicBezTo>
                    <a:pt x="150" y="803"/>
                    <a:pt x="150" y="803"/>
                    <a:pt x="150" y="803"/>
                  </a:cubicBezTo>
                  <a:cubicBezTo>
                    <a:pt x="168" y="818"/>
                    <a:pt x="168" y="818"/>
                    <a:pt x="168" y="818"/>
                  </a:cubicBezTo>
                  <a:cubicBezTo>
                    <a:pt x="179" y="863"/>
                    <a:pt x="179" y="863"/>
                    <a:pt x="179" y="863"/>
                  </a:cubicBezTo>
                  <a:cubicBezTo>
                    <a:pt x="179" y="931"/>
                    <a:pt x="179" y="931"/>
                    <a:pt x="179" y="931"/>
                  </a:cubicBezTo>
                  <a:cubicBezTo>
                    <a:pt x="175" y="958"/>
                    <a:pt x="175" y="958"/>
                    <a:pt x="175" y="958"/>
                  </a:cubicBezTo>
                  <a:cubicBezTo>
                    <a:pt x="185" y="982"/>
                    <a:pt x="185" y="982"/>
                    <a:pt x="185" y="982"/>
                  </a:cubicBezTo>
                  <a:cubicBezTo>
                    <a:pt x="195" y="995"/>
                    <a:pt x="195" y="995"/>
                    <a:pt x="195" y="995"/>
                  </a:cubicBezTo>
                  <a:cubicBezTo>
                    <a:pt x="195" y="1069"/>
                    <a:pt x="195" y="1069"/>
                    <a:pt x="195" y="1069"/>
                  </a:cubicBezTo>
                  <a:cubicBezTo>
                    <a:pt x="204" y="1116"/>
                    <a:pt x="204" y="1116"/>
                    <a:pt x="204" y="1116"/>
                  </a:cubicBezTo>
                  <a:cubicBezTo>
                    <a:pt x="206" y="1119"/>
                    <a:pt x="206" y="1119"/>
                    <a:pt x="206" y="1119"/>
                  </a:cubicBezTo>
                  <a:cubicBezTo>
                    <a:pt x="1219" y="1106"/>
                    <a:pt x="1219" y="1106"/>
                    <a:pt x="1219" y="1106"/>
                  </a:cubicBezTo>
                  <a:cubicBezTo>
                    <a:pt x="1299" y="1179"/>
                    <a:pt x="1299" y="1179"/>
                    <a:pt x="1299" y="1179"/>
                  </a:cubicBezTo>
                  <a:cubicBezTo>
                    <a:pt x="1314" y="1165"/>
                    <a:pt x="1314" y="1165"/>
                    <a:pt x="1314" y="1165"/>
                  </a:cubicBezTo>
                  <a:lnTo>
                    <a:pt x="1309" y="1112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55">
              <a:extLst>
                <a:ext uri="{FF2B5EF4-FFF2-40B4-BE49-F238E27FC236}">
                  <a16:creationId xmlns:a16="http://schemas.microsoft.com/office/drawing/2014/main" id="{B2EEF153-A7A8-CFB9-6E53-A402D4966B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15447" y="8989877"/>
              <a:ext cx="2559411" cy="1987019"/>
            </a:xfrm>
            <a:custGeom>
              <a:avLst/>
              <a:gdLst>
                <a:gd name="T0" fmla="*/ 2602 w 3580"/>
                <a:gd name="T1" fmla="*/ 1909 h 2777"/>
                <a:gd name="T2" fmla="*/ 3124 w 3580"/>
                <a:gd name="T3" fmla="*/ 2050 h 2777"/>
                <a:gd name="T4" fmla="*/ 3580 w 3580"/>
                <a:gd name="T5" fmla="*/ 2474 h 2777"/>
                <a:gd name="T6" fmla="*/ 3497 w 3580"/>
                <a:gd name="T7" fmla="*/ 2606 h 2777"/>
                <a:gd name="T8" fmla="*/ 3299 w 3580"/>
                <a:gd name="T9" fmla="*/ 2463 h 2777"/>
                <a:gd name="T10" fmla="*/ 3411 w 3580"/>
                <a:gd name="T11" fmla="*/ 2663 h 2777"/>
                <a:gd name="T12" fmla="*/ 3260 w 3580"/>
                <a:gd name="T13" fmla="*/ 2582 h 2777"/>
                <a:gd name="T14" fmla="*/ 3217 w 3580"/>
                <a:gd name="T15" fmla="*/ 2396 h 2777"/>
                <a:gd name="T16" fmla="*/ 3153 w 3580"/>
                <a:gd name="T17" fmla="*/ 2393 h 2777"/>
                <a:gd name="T18" fmla="*/ 3122 w 3580"/>
                <a:gd name="T19" fmla="*/ 2315 h 2777"/>
                <a:gd name="T20" fmla="*/ 2988 w 3580"/>
                <a:gd name="T21" fmla="*/ 2353 h 2777"/>
                <a:gd name="T22" fmla="*/ 2673 w 3580"/>
                <a:gd name="T23" fmla="*/ 2050 h 2777"/>
                <a:gd name="T24" fmla="*/ 2191 w 3580"/>
                <a:gd name="T25" fmla="*/ 1954 h 2777"/>
                <a:gd name="T26" fmla="*/ 1950 w 3580"/>
                <a:gd name="T27" fmla="*/ 1930 h 2777"/>
                <a:gd name="T28" fmla="*/ 1958 w 3580"/>
                <a:gd name="T29" fmla="*/ 1833 h 2777"/>
                <a:gd name="T30" fmla="*/ 1814 w 3580"/>
                <a:gd name="T31" fmla="*/ 1957 h 2777"/>
                <a:gd name="T32" fmla="*/ 1500 w 3580"/>
                <a:gd name="T33" fmla="*/ 2128 h 2777"/>
                <a:gd name="T34" fmla="*/ 1562 w 3580"/>
                <a:gd name="T35" fmla="*/ 1859 h 2777"/>
                <a:gd name="T36" fmla="*/ 1454 w 3580"/>
                <a:gd name="T37" fmla="*/ 1897 h 2777"/>
                <a:gd name="T38" fmla="*/ 1294 w 3580"/>
                <a:gd name="T39" fmla="*/ 2102 h 2777"/>
                <a:gd name="T40" fmla="*/ 1051 w 3580"/>
                <a:gd name="T41" fmla="*/ 2463 h 2777"/>
                <a:gd name="T42" fmla="*/ 726 w 3580"/>
                <a:gd name="T43" fmla="*/ 2649 h 2777"/>
                <a:gd name="T44" fmla="*/ 500 w 3580"/>
                <a:gd name="T45" fmla="*/ 2670 h 2777"/>
                <a:gd name="T46" fmla="*/ 297 w 3580"/>
                <a:gd name="T47" fmla="*/ 2777 h 2777"/>
                <a:gd name="T48" fmla="*/ 421 w 3580"/>
                <a:gd name="T49" fmla="*/ 2646 h 2777"/>
                <a:gd name="T50" fmla="*/ 731 w 3580"/>
                <a:gd name="T51" fmla="*/ 2496 h 2777"/>
                <a:gd name="T52" fmla="*/ 979 w 3580"/>
                <a:gd name="T53" fmla="*/ 2202 h 2777"/>
                <a:gd name="T54" fmla="*/ 867 w 3580"/>
                <a:gd name="T55" fmla="*/ 2138 h 2777"/>
                <a:gd name="T56" fmla="*/ 629 w 3580"/>
                <a:gd name="T57" fmla="*/ 2124 h 2777"/>
                <a:gd name="T58" fmla="*/ 555 w 3580"/>
                <a:gd name="T59" fmla="*/ 1873 h 2777"/>
                <a:gd name="T60" fmla="*/ 385 w 3580"/>
                <a:gd name="T61" fmla="*/ 1773 h 2777"/>
                <a:gd name="T62" fmla="*/ 454 w 3580"/>
                <a:gd name="T63" fmla="*/ 1670 h 2777"/>
                <a:gd name="T64" fmla="*/ 421 w 3580"/>
                <a:gd name="T65" fmla="*/ 1441 h 2777"/>
                <a:gd name="T66" fmla="*/ 641 w 3580"/>
                <a:gd name="T67" fmla="*/ 1344 h 2777"/>
                <a:gd name="T68" fmla="*/ 786 w 3580"/>
                <a:gd name="T69" fmla="*/ 1301 h 2777"/>
                <a:gd name="T70" fmla="*/ 817 w 3580"/>
                <a:gd name="T71" fmla="*/ 1067 h 2777"/>
                <a:gd name="T72" fmla="*/ 528 w 3580"/>
                <a:gd name="T73" fmla="*/ 1062 h 2777"/>
                <a:gd name="T74" fmla="*/ 383 w 3580"/>
                <a:gd name="T75" fmla="*/ 826 h 2777"/>
                <a:gd name="T76" fmla="*/ 633 w 3580"/>
                <a:gd name="T77" fmla="*/ 745 h 2777"/>
                <a:gd name="T78" fmla="*/ 867 w 3580"/>
                <a:gd name="T79" fmla="*/ 833 h 2777"/>
                <a:gd name="T80" fmla="*/ 738 w 3580"/>
                <a:gd name="T81" fmla="*/ 549 h 2777"/>
                <a:gd name="T82" fmla="*/ 693 w 3580"/>
                <a:gd name="T83" fmla="*/ 327 h 2777"/>
                <a:gd name="T84" fmla="*/ 920 w 3580"/>
                <a:gd name="T85" fmla="*/ 177 h 2777"/>
                <a:gd name="T86" fmla="*/ 1323 w 3580"/>
                <a:gd name="T87" fmla="*/ 26 h 2777"/>
                <a:gd name="T88" fmla="*/ 1421 w 3580"/>
                <a:gd name="T89" fmla="*/ 93 h 2777"/>
                <a:gd name="T90" fmla="*/ 1707 w 3580"/>
                <a:gd name="T91" fmla="*/ 162 h 2777"/>
                <a:gd name="T92" fmla="*/ 1908 w 3580"/>
                <a:gd name="T93" fmla="*/ 222 h 2777"/>
                <a:gd name="T94" fmla="*/ 2244 w 3580"/>
                <a:gd name="T95" fmla="*/ 511 h 2777"/>
                <a:gd name="T96" fmla="*/ 1343 w 3580"/>
                <a:gd name="T97" fmla="*/ 2500 h 2777"/>
                <a:gd name="T98" fmla="*/ 1442 w 3580"/>
                <a:gd name="T99" fmla="*/ 2399 h 2777"/>
                <a:gd name="T100" fmla="*/ 1435 w 3580"/>
                <a:gd name="T101" fmla="*/ 2259 h 2777"/>
                <a:gd name="T102" fmla="*/ 1338 w 3580"/>
                <a:gd name="T103" fmla="*/ 2368 h 2777"/>
                <a:gd name="T104" fmla="*/ 1236 w 3580"/>
                <a:gd name="T105" fmla="*/ 2401 h 2777"/>
                <a:gd name="T106" fmla="*/ 1257 w 3580"/>
                <a:gd name="T107" fmla="*/ 2555 h 2777"/>
                <a:gd name="T108" fmla="*/ 301 w 3580"/>
                <a:gd name="T109" fmla="*/ 1791 h 2777"/>
                <a:gd name="T110" fmla="*/ 180 w 3580"/>
                <a:gd name="T111" fmla="*/ 1166 h 2777"/>
                <a:gd name="T112" fmla="*/ 3 w 3580"/>
                <a:gd name="T113" fmla="*/ 1067 h 2777"/>
                <a:gd name="T114" fmla="*/ 76 w 3580"/>
                <a:gd name="T115" fmla="*/ 1133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80" h="2777">
                  <a:moveTo>
                    <a:pt x="2244" y="511"/>
                  </a:moveTo>
                  <a:cubicBezTo>
                    <a:pt x="2327" y="1124"/>
                    <a:pt x="2327" y="1124"/>
                    <a:pt x="2327" y="1124"/>
                  </a:cubicBezTo>
                  <a:cubicBezTo>
                    <a:pt x="2421" y="1859"/>
                    <a:pt x="2421" y="1859"/>
                    <a:pt x="2421" y="1859"/>
                  </a:cubicBezTo>
                  <a:cubicBezTo>
                    <a:pt x="2447" y="1897"/>
                    <a:pt x="2447" y="1897"/>
                    <a:pt x="2447" y="1897"/>
                  </a:cubicBezTo>
                  <a:cubicBezTo>
                    <a:pt x="2511" y="1897"/>
                    <a:pt x="2511" y="1897"/>
                    <a:pt x="2511" y="1897"/>
                  </a:cubicBezTo>
                  <a:cubicBezTo>
                    <a:pt x="2526" y="1859"/>
                    <a:pt x="2526" y="1859"/>
                    <a:pt x="2526" y="1859"/>
                  </a:cubicBezTo>
                  <a:cubicBezTo>
                    <a:pt x="2580" y="1856"/>
                    <a:pt x="2580" y="1856"/>
                    <a:pt x="2580" y="1856"/>
                  </a:cubicBezTo>
                  <a:cubicBezTo>
                    <a:pt x="2580" y="1880"/>
                    <a:pt x="2580" y="1880"/>
                    <a:pt x="2580" y="1880"/>
                  </a:cubicBezTo>
                  <a:cubicBezTo>
                    <a:pt x="2602" y="1909"/>
                    <a:pt x="2602" y="1909"/>
                    <a:pt x="2602" y="1909"/>
                  </a:cubicBezTo>
                  <a:cubicBezTo>
                    <a:pt x="2695" y="1969"/>
                    <a:pt x="2695" y="1969"/>
                    <a:pt x="2695" y="1969"/>
                  </a:cubicBezTo>
                  <a:cubicBezTo>
                    <a:pt x="2771" y="2055"/>
                    <a:pt x="2771" y="2055"/>
                    <a:pt x="2771" y="2055"/>
                  </a:cubicBezTo>
                  <a:cubicBezTo>
                    <a:pt x="2812" y="2016"/>
                    <a:pt x="2812" y="2016"/>
                    <a:pt x="2812" y="2016"/>
                  </a:cubicBezTo>
                  <a:cubicBezTo>
                    <a:pt x="2840" y="1947"/>
                    <a:pt x="2840" y="1947"/>
                    <a:pt x="2840" y="1947"/>
                  </a:cubicBezTo>
                  <a:cubicBezTo>
                    <a:pt x="2871" y="1914"/>
                    <a:pt x="2871" y="1914"/>
                    <a:pt x="2871" y="1914"/>
                  </a:cubicBezTo>
                  <a:cubicBezTo>
                    <a:pt x="2910" y="1892"/>
                    <a:pt x="2910" y="1892"/>
                    <a:pt x="2910" y="1892"/>
                  </a:cubicBezTo>
                  <a:cubicBezTo>
                    <a:pt x="2972" y="1919"/>
                    <a:pt x="2972" y="1919"/>
                    <a:pt x="2972" y="1919"/>
                  </a:cubicBezTo>
                  <a:cubicBezTo>
                    <a:pt x="3048" y="1976"/>
                    <a:pt x="3048" y="1976"/>
                    <a:pt x="3048" y="1976"/>
                  </a:cubicBezTo>
                  <a:cubicBezTo>
                    <a:pt x="3124" y="2050"/>
                    <a:pt x="3124" y="2050"/>
                    <a:pt x="3124" y="2050"/>
                  </a:cubicBezTo>
                  <a:cubicBezTo>
                    <a:pt x="3179" y="2114"/>
                    <a:pt x="3179" y="2114"/>
                    <a:pt x="3179" y="2114"/>
                  </a:cubicBezTo>
                  <a:cubicBezTo>
                    <a:pt x="3289" y="2226"/>
                    <a:pt x="3289" y="2226"/>
                    <a:pt x="3289" y="2226"/>
                  </a:cubicBezTo>
                  <a:cubicBezTo>
                    <a:pt x="3358" y="2324"/>
                    <a:pt x="3358" y="2324"/>
                    <a:pt x="3358" y="2324"/>
                  </a:cubicBezTo>
                  <a:cubicBezTo>
                    <a:pt x="3401" y="2329"/>
                    <a:pt x="3401" y="2329"/>
                    <a:pt x="3401" y="2329"/>
                  </a:cubicBezTo>
                  <a:cubicBezTo>
                    <a:pt x="3446" y="2334"/>
                    <a:pt x="3446" y="2334"/>
                    <a:pt x="3446" y="2334"/>
                  </a:cubicBezTo>
                  <a:cubicBezTo>
                    <a:pt x="3530" y="2365"/>
                    <a:pt x="3530" y="2365"/>
                    <a:pt x="3530" y="2365"/>
                  </a:cubicBezTo>
                  <a:cubicBezTo>
                    <a:pt x="3568" y="2389"/>
                    <a:pt x="3568" y="2389"/>
                    <a:pt x="3568" y="2389"/>
                  </a:cubicBezTo>
                  <a:cubicBezTo>
                    <a:pt x="3568" y="2410"/>
                    <a:pt x="3568" y="2410"/>
                    <a:pt x="3568" y="2410"/>
                  </a:cubicBezTo>
                  <a:cubicBezTo>
                    <a:pt x="3580" y="2474"/>
                    <a:pt x="3580" y="2474"/>
                    <a:pt x="3580" y="2474"/>
                  </a:cubicBezTo>
                  <a:cubicBezTo>
                    <a:pt x="3580" y="2501"/>
                    <a:pt x="3580" y="2501"/>
                    <a:pt x="3580" y="2501"/>
                  </a:cubicBezTo>
                  <a:cubicBezTo>
                    <a:pt x="3580" y="2534"/>
                    <a:pt x="3580" y="2534"/>
                    <a:pt x="3580" y="2534"/>
                  </a:cubicBezTo>
                  <a:cubicBezTo>
                    <a:pt x="3580" y="2591"/>
                    <a:pt x="3580" y="2591"/>
                    <a:pt x="3580" y="2591"/>
                  </a:cubicBezTo>
                  <a:cubicBezTo>
                    <a:pt x="3549" y="2610"/>
                    <a:pt x="3549" y="2610"/>
                    <a:pt x="3549" y="2610"/>
                  </a:cubicBezTo>
                  <a:cubicBezTo>
                    <a:pt x="3532" y="2589"/>
                    <a:pt x="3532" y="2589"/>
                    <a:pt x="3532" y="2589"/>
                  </a:cubicBezTo>
                  <a:cubicBezTo>
                    <a:pt x="3511" y="2553"/>
                    <a:pt x="3511" y="2553"/>
                    <a:pt x="3511" y="2553"/>
                  </a:cubicBezTo>
                  <a:cubicBezTo>
                    <a:pt x="3489" y="2565"/>
                    <a:pt x="3489" y="2565"/>
                    <a:pt x="3489" y="2565"/>
                  </a:cubicBezTo>
                  <a:cubicBezTo>
                    <a:pt x="3511" y="2603"/>
                    <a:pt x="3511" y="2603"/>
                    <a:pt x="3511" y="2603"/>
                  </a:cubicBezTo>
                  <a:cubicBezTo>
                    <a:pt x="3497" y="2606"/>
                    <a:pt x="3497" y="2606"/>
                    <a:pt x="3497" y="2606"/>
                  </a:cubicBezTo>
                  <a:cubicBezTo>
                    <a:pt x="3478" y="2591"/>
                    <a:pt x="3478" y="2591"/>
                    <a:pt x="3478" y="2591"/>
                  </a:cubicBezTo>
                  <a:cubicBezTo>
                    <a:pt x="3435" y="2582"/>
                    <a:pt x="3435" y="2582"/>
                    <a:pt x="3435" y="2582"/>
                  </a:cubicBezTo>
                  <a:cubicBezTo>
                    <a:pt x="3435" y="2553"/>
                    <a:pt x="3435" y="2553"/>
                    <a:pt x="3435" y="2553"/>
                  </a:cubicBezTo>
                  <a:cubicBezTo>
                    <a:pt x="3418" y="2520"/>
                    <a:pt x="3418" y="2520"/>
                    <a:pt x="3418" y="2520"/>
                  </a:cubicBezTo>
                  <a:cubicBezTo>
                    <a:pt x="3401" y="2501"/>
                    <a:pt x="3401" y="2501"/>
                    <a:pt x="3401" y="2501"/>
                  </a:cubicBezTo>
                  <a:cubicBezTo>
                    <a:pt x="3387" y="2477"/>
                    <a:pt x="3387" y="2477"/>
                    <a:pt x="3387" y="2477"/>
                  </a:cubicBezTo>
                  <a:cubicBezTo>
                    <a:pt x="3330" y="2436"/>
                    <a:pt x="3330" y="2436"/>
                    <a:pt x="3330" y="2436"/>
                  </a:cubicBezTo>
                  <a:cubicBezTo>
                    <a:pt x="3279" y="2439"/>
                    <a:pt x="3279" y="2439"/>
                    <a:pt x="3279" y="2439"/>
                  </a:cubicBezTo>
                  <a:cubicBezTo>
                    <a:pt x="3299" y="2463"/>
                    <a:pt x="3299" y="2463"/>
                    <a:pt x="3299" y="2463"/>
                  </a:cubicBezTo>
                  <a:cubicBezTo>
                    <a:pt x="3310" y="2472"/>
                    <a:pt x="3310" y="2472"/>
                    <a:pt x="3310" y="2472"/>
                  </a:cubicBezTo>
                  <a:cubicBezTo>
                    <a:pt x="3358" y="2505"/>
                    <a:pt x="3358" y="2505"/>
                    <a:pt x="3358" y="2505"/>
                  </a:cubicBezTo>
                  <a:cubicBezTo>
                    <a:pt x="3384" y="2534"/>
                    <a:pt x="3384" y="2534"/>
                    <a:pt x="3384" y="2534"/>
                  </a:cubicBezTo>
                  <a:cubicBezTo>
                    <a:pt x="3389" y="2551"/>
                    <a:pt x="3389" y="2551"/>
                    <a:pt x="3389" y="2551"/>
                  </a:cubicBezTo>
                  <a:cubicBezTo>
                    <a:pt x="3406" y="2570"/>
                    <a:pt x="3406" y="2570"/>
                    <a:pt x="3406" y="2570"/>
                  </a:cubicBezTo>
                  <a:cubicBezTo>
                    <a:pt x="3420" y="2591"/>
                    <a:pt x="3420" y="2591"/>
                    <a:pt x="3420" y="2591"/>
                  </a:cubicBezTo>
                  <a:cubicBezTo>
                    <a:pt x="3435" y="2639"/>
                    <a:pt x="3435" y="2639"/>
                    <a:pt x="3435" y="2639"/>
                  </a:cubicBezTo>
                  <a:cubicBezTo>
                    <a:pt x="3435" y="2658"/>
                    <a:pt x="3435" y="2658"/>
                    <a:pt x="3435" y="2658"/>
                  </a:cubicBezTo>
                  <a:cubicBezTo>
                    <a:pt x="3411" y="2663"/>
                    <a:pt x="3411" y="2663"/>
                    <a:pt x="3411" y="2663"/>
                  </a:cubicBezTo>
                  <a:cubicBezTo>
                    <a:pt x="3399" y="2627"/>
                    <a:pt x="3399" y="2627"/>
                    <a:pt x="3399" y="2627"/>
                  </a:cubicBezTo>
                  <a:cubicBezTo>
                    <a:pt x="3399" y="2663"/>
                    <a:pt x="3399" y="2663"/>
                    <a:pt x="3399" y="2663"/>
                  </a:cubicBezTo>
                  <a:cubicBezTo>
                    <a:pt x="3387" y="2687"/>
                    <a:pt x="3387" y="2687"/>
                    <a:pt x="3387" y="2687"/>
                  </a:cubicBezTo>
                  <a:cubicBezTo>
                    <a:pt x="3365" y="2684"/>
                    <a:pt x="3365" y="2684"/>
                    <a:pt x="3365" y="2684"/>
                  </a:cubicBezTo>
                  <a:cubicBezTo>
                    <a:pt x="3327" y="2646"/>
                    <a:pt x="3327" y="2646"/>
                    <a:pt x="3327" y="2646"/>
                  </a:cubicBezTo>
                  <a:cubicBezTo>
                    <a:pt x="3299" y="2608"/>
                    <a:pt x="3299" y="2608"/>
                    <a:pt x="3299" y="2608"/>
                  </a:cubicBezTo>
                  <a:cubicBezTo>
                    <a:pt x="3270" y="2618"/>
                    <a:pt x="3270" y="2618"/>
                    <a:pt x="3270" y="2618"/>
                  </a:cubicBezTo>
                  <a:cubicBezTo>
                    <a:pt x="3248" y="2618"/>
                    <a:pt x="3248" y="2618"/>
                    <a:pt x="3248" y="2618"/>
                  </a:cubicBezTo>
                  <a:cubicBezTo>
                    <a:pt x="3260" y="2582"/>
                    <a:pt x="3260" y="2582"/>
                    <a:pt x="3260" y="2582"/>
                  </a:cubicBezTo>
                  <a:cubicBezTo>
                    <a:pt x="3299" y="2570"/>
                    <a:pt x="3299" y="2570"/>
                    <a:pt x="3299" y="2570"/>
                  </a:cubicBezTo>
                  <a:cubicBezTo>
                    <a:pt x="3284" y="2534"/>
                    <a:pt x="3284" y="2534"/>
                    <a:pt x="3284" y="2534"/>
                  </a:cubicBezTo>
                  <a:cubicBezTo>
                    <a:pt x="3239" y="2548"/>
                    <a:pt x="3239" y="2548"/>
                    <a:pt x="3239" y="2548"/>
                  </a:cubicBezTo>
                  <a:cubicBezTo>
                    <a:pt x="3256" y="2508"/>
                    <a:pt x="3256" y="2508"/>
                    <a:pt x="3256" y="2508"/>
                  </a:cubicBezTo>
                  <a:cubicBezTo>
                    <a:pt x="3232" y="2479"/>
                    <a:pt x="3232" y="2479"/>
                    <a:pt x="3232" y="2479"/>
                  </a:cubicBezTo>
                  <a:cubicBezTo>
                    <a:pt x="3225" y="2463"/>
                    <a:pt x="3225" y="2463"/>
                    <a:pt x="3225" y="2463"/>
                  </a:cubicBezTo>
                  <a:cubicBezTo>
                    <a:pt x="3229" y="2443"/>
                    <a:pt x="3229" y="2443"/>
                    <a:pt x="3229" y="2443"/>
                  </a:cubicBezTo>
                  <a:cubicBezTo>
                    <a:pt x="3256" y="2400"/>
                    <a:pt x="3256" y="2400"/>
                    <a:pt x="3256" y="2400"/>
                  </a:cubicBezTo>
                  <a:cubicBezTo>
                    <a:pt x="3217" y="2396"/>
                    <a:pt x="3217" y="2396"/>
                    <a:pt x="3217" y="2396"/>
                  </a:cubicBezTo>
                  <a:cubicBezTo>
                    <a:pt x="3203" y="2410"/>
                    <a:pt x="3203" y="2410"/>
                    <a:pt x="3203" y="2410"/>
                  </a:cubicBezTo>
                  <a:cubicBezTo>
                    <a:pt x="3203" y="2424"/>
                    <a:pt x="3203" y="2424"/>
                    <a:pt x="3203" y="2424"/>
                  </a:cubicBezTo>
                  <a:cubicBezTo>
                    <a:pt x="3203" y="2465"/>
                    <a:pt x="3203" y="2465"/>
                    <a:pt x="3203" y="2465"/>
                  </a:cubicBezTo>
                  <a:cubicBezTo>
                    <a:pt x="3184" y="2482"/>
                    <a:pt x="3184" y="2482"/>
                    <a:pt x="3184" y="2482"/>
                  </a:cubicBezTo>
                  <a:cubicBezTo>
                    <a:pt x="3172" y="2496"/>
                    <a:pt x="3172" y="2496"/>
                    <a:pt x="3172" y="2496"/>
                  </a:cubicBezTo>
                  <a:cubicBezTo>
                    <a:pt x="3172" y="2496"/>
                    <a:pt x="3170" y="2484"/>
                    <a:pt x="3170" y="2474"/>
                  </a:cubicBezTo>
                  <a:cubicBezTo>
                    <a:pt x="3170" y="2465"/>
                    <a:pt x="3163" y="2451"/>
                    <a:pt x="3163" y="2451"/>
                  </a:cubicBezTo>
                  <a:cubicBezTo>
                    <a:pt x="3163" y="2451"/>
                    <a:pt x="3160" y="2427"/>
                    <a:pt x="3160" y="2415"/>
                  </a:cubicBezTo>
                  <a:cubicBezTo>
                    <a:pt x="3160" y="2403"/>
                    <a:pt x="3153" y="2393"/>
                    <a:pt x="3153" y="2393"/>
                  </a:cubicBezTo>
                  <a:cubicBezTo>
                    <a:pt x="3153" y="2393"/>
                    <a:pt x="3146" y="2381"/>
                    <a:pt x="3143" y="2369"/>
                  </a:cubicBezTo>
                  <a:cubicBezTo>
                    <a:pt x="3141" y="2358"/>
                    <a:pt x="3141" y="2348"/>
                    <a:pt x="3141" y="2348"/>
                  </a:cubicBezTo>
                  <a:cubicBezTo>
                    <a:pt x="3141" y="2348"/>
                    <a:pt x="3153" y="2338"/>
                    <a:pt x="3163" y="2334"/>
                  </a:cubicBezTo>
                  <a:cubicBezTo>
                    <a:pt x="3172" y="2329"/>
                    <a:pt x="3179" y="2315"/>
                    <a:pt x="3179" y="2315"/>
                  </a:cubicBezTo>
                  <a:cubicBezTo>
                    <a:pt x="3203" y="2286"/>
                    <a:pt x="3203" y="2286"/>
                    <a:pt x="3203" y="2286"/>
                  </a:cubicBezTo>
                  <a:cubicBezTo>
                    <a:pt x="3179" y="2238"/>
                    <a:pt x="3179" y="2238"/>
                    <a:pt x="3179" y="2238"/>
                  </a:cubicBezTo>
                  <a:cubicBezTo>
                    <a:pt x="3167" y="2248"/>
                    <a:pt x="3167" y="2248"/>
                    <a:pt x="3167" y="2248"/>
                  </a:cubicBezTo>
                  <a:cubicBezTo>
                    <a:pt x="3151" y="2281"/>
                    <a:pt x="3151" y="2281"/>
                    <a:pt x="3151" y="2281"/>
                  </a:cubicBezTo>
                  <a:cubicBezTo>
                    <a:pt x="3122" y="2315"/>
                    <a:pt x="3122" y="2315"/>
                    <a:pt x="3122" y="2315"/>
                  </a:cubicBezTo>
                  <a:cubicBezTo>
                    <a:pt x="3103" y="2329"/>
                    <a:pt x="3103" y="2329"/>
                    <a:pt x="3103" y="2329"/>
                  </a:cubicBezTo>
                  <a:cubicBezTo>
                    <a:pt x="3098" y="2346"/>
                    <a:pt x="3098" y="2346"/>
                    <a:pt x="3098" y="2346"/>
                  </a:cubicBezTo>
                  <a:cubicBezTo>
                    <a:pt x="3108" y="2400"/>
                    <a:pt x="3108" y="2400"/>
                    <a:pt x="3108" y="2400"/>
                  </a:cubicBezTo>
                  <a:cubicBezTo>
                    <a:pt x="3136" y="2472"/>
                    <a:pt x="3136" y="2472"/>
                    <a:pt x="3136" y="2472"/>
                  </a:cubicBezTo>
                  <a:cubicBezTo>
                    <a:pt x="3108" y="2470"/>
                    <a:pt x="3108" y="2470"/>
                    <a:pt x="3108" y="2470"/>
                  </a:cubicBezTo>
                  <a:cubicBezTo>
                    <a:pt x="3067" y="2384"/>
                    <a:pt x="3067" y="2384"/>
                    <a:pt x="3067" y="2384"/>
                  </a:cubicBezTo>
                  <a:cubicBezTo>
                    <a:pt x="3017" y="2315"/>
                    <a:pt x="3017" y="2315"/>
                    <a:pt x="3017" y="2315"/>
                  </a:cubicBezTo>
                  <a:cubicBezTo>
                    <a:pt x="3003" y="2360"/>
                    <a:pt x="3003" y="2360"/>
                    <a:pt x="3003" y="2360"/>
                  </a:cubicBezTo>
                  <a:cubicBezTo>
                    <a:pt x="2988" y="2353"/>
                    <a:pt x="2988" y="2353"/>
                    <a:pt x="2988" y="2353"/>
                  </a:cubicBezTo>
                  <a:cubicBezTo>
                    <a:pt x="2969" y="2305"/>
                    <a:pt x="2969" y="2305"/>
                    <a:pt x="2969" y="2305"/>
                  </a:cubicBezTo>
                  <a:cubicBezTo>
                    <a:pt x="2941" y="2281"/>
                    <a:pt x="2941" y="2281"/>
                    <a:pt x="2941" y="2281"/>
                  </a:cubicBezTo>
                  <a:cubicBezTo>
                    <a:pt x="2876" y="2202"/>
                    <a:pt x="2876" y="2202"/>
                    <a:pt x="2876" y="2202"/>
                  </a:cubicBezTo>
                  <a:cubicBezTo>
                    <a:pt x="2876" y="2155"/>
                    <a:pt x="2876" y="2155"/>
                    <a:pt x="2876" y="2155"/>
                  </a:cubicBezTo>
                  <a:cubicBezTo>
                    <a:pt x="2857" y="2186"/>
                    <a:pt x="2857" y="2186"/>
                    <a:pt x="2857" y="2186"/>
                  </a:cubicBezTo>
                  <a:cubicBezTo>
                    <a:pt x="2821" y="2171"/>
                    <a:pt x="2821" y="2171"/>
                    <a:pt x="2821" y="2171"/>
                  </a:cubicBezTo>
                  <a:cubicBezTo>
                    <a:pt x="2745" y="2102"/>
                    <a:pt x="2745" y="2102"/>
                    <a:pt x="2745" y="2102"/>
                  </a:cubicBezTo>
                  <a:cubicBezTo>
                    <a:pt x="2697" y="2043"/>
                    <a:pt x="2697" y="2043"/>
                    <a:pt x="2697" y="2043"/>
                  </a:cubicBezTo>
                  <a:cubicBezTo>
                    <a:pt x="2673" y="2050"/>
                    <a:pt x="2673" y="2050"/>
                    <a:pt x="2673" y="2050"/>
                  </a:cubicBezTo>
                  <a:cubicBezTo>
                    <a:pt x="2607" y="2040"/>
                    <a:pt x="2607" y="2040"/>
                    <a:pt x="2607" y="2040"/>
                  </a:cubicBezTo>
                  <a:cubicBezTo>
                    <a:pt x="2568" y="1997"/>
                    <a:pt x="2568" y="1997"/>
                    <a:pt x="2568" y="1997"/>
                  </a:cubicBezTo>
                  <a:cubicBezTo>
                    <a:pt x="2568" y="1947"/>
                    <a:pt x="2568" y="1947"/>
                    <a:pt x="2568" y="1947"/>
                  </a:cubicBezTo>
                  <a:cubicBezTo>
                    <a:pt x="2549" y="1964"/>
                    <a:pt x="2549" y="1964"/>
                    <a:pt x="2549" y="1964"/>
                  </a:cubicBezTo>
                  <a:cubicBezTo>
                    <a:pt x="2466" y="1961"/>
                    <a:pt x="2466" y="1961"/>
                    <a:pt x="2466" y="1961"/>
                  </a:cubicBezTo>
                  <a:cubicBezTo>
                    <a:pt x="2423" y="1957"/>
                    <a:pt x="2423" y="1957"/>
                    <a:pt x="2423" y="1957"/>
                  </a:cubicBezTo>
                  <a:cubicBezTo>
                    <a:pt x="2373" y="1942"/>
                    <a:pt x="2373" y="1942"/>
                    <a:pt x="2373" y="1942"/>
                  </a:cubicBezTo>
                  <a:cubicBezTo>
                    <a:pt x="2287" y="1935"/>
                    <a:pt x="2287" y="1935"/>
                    <a:pt x="2287" y="1935"/>
                  </a:cubicBezTo>
                  <a:cubicBezTo>
                    <a:pt x="2191" y="1954"/>
                    <a:pt x="2191" y="1954"/>
                    <a:pt x="2191" y="1954"/>
                  </a:cubicBezTo>
                  <a:cubicBezTo>
                    <a:pt x="2134" y="1971"/>
                    <a:pt x="2134" y="1971"/>
                    <a:pt x="2134" y="1971"/>
                  </a:cubicBezTo>
                  <a:cubicBezTo>
                    <a:pt x="2146" y="1916"/>
                    <a:pt x="2146" y="1916"/>
                    <a:pt x="2146" y="1916"/>
                  </a:cubicBezTo>
                  <a:cubicBezTo>
                    <a:pt x="2125" y="1928"/>
                    <a:pt x="2125" y="1928"/>
                    <a:pt x="2125" y="1928"/>
                  </a:cubicBezTo>
                  <a:cubicBezTo>
                    <a:pt x="2091" y="1904"/>
                    <a:pt x="2091" y="1904"/>
                    <a:pt x="2091" y="1904"/>
                  </a:cubicBezTo>
                  <a:cubicBezTo>
                    <a:pt x="2063" y="1890"/>
                    <a:pt x="2063" y="1890"/>
                    <a:pt x="2063" y="1890"/>
                  </a:cubicBezTo>
                  <a:cubicBezTo>
                    <a:pt x="2032" y="1890"/>
                    <a:pt x="2032" y="1890"/>
                    <a:pt x="2032" y="1890"/>
                  </a:cubicBezTo>
                  <a:cubicBezTo>
                    <a:pt x="2010" y="1890"/>
                    <a:pt x="2010" y="1890"/>
                    <a:pt x="2010" y="1890"/>
                  </a:cubicBezTo>
                  <a:cubicBezTo>
                    <a:pt x="1977" y="1916"/>
                    <a:pt x="1977" y="1916"/>
                    <a:pt x="1977" y="1916"/>
                  </a:cubicBezTo>
                  <a:cubicBezTo>
                    <a:pt x="1950" y="1930"/>
                    <a:pt x="1950" y="1930"/>
                    <a:pt x="1950" y="1930"/>
                  </a:cubicBezTo>
                  <a:cubicBezTo>
                    <a:pt x="1922" y="1961"/>
                    <a:pt x="1922" y="1961"/>
                    <a:pt x="1922" y="1961"/>
                  </a:cubicBezTo>
                  <a:cubicBezTo>
                    <a:pt x="1908" y="1978"/>
                    <a:pt x="1908" y="1978"/>
                    <a:pt x="1908" y="1978"/>
                  </a:cubicBezTo>
                  <a:cubicBezTo>
                    <a:pt x="1872" y="1966"/>
                    <a:pt x="1872" y="1966"/>
                    <a:pt x="1872" y="1966"/>
                  </a:cubicBezTo>
                  <a:cubicBezTo>
                    <a:pt x="1908" y="1945"/>
                    <a:pt x="1908" y="1945"/>
                    <a:pt x="1908" y="1945"/>
                  </a:cubicBezTo>
                  <a:cubicBezTo>
                    <a:pt x="1950" y="1902"/>
                    <a:pt x="1950" y="1902"/>
                    <a:pt x="1950" y="1902"/>
                  </a:cubicBezTo>
                  <a:cubicBezTo>
                    <a:pt x="1977" y="1871"/>
                    <a:pt x="1977" y="1871"/>
                    <a:pt x="1977" y="1871"/>
                  </a:cubicBezTo>
                  <a:cubicBezTo>
                    <a:pt x="2001" y="1847"/>
                    <a:pt x="2001" y="1847"/>
                    <a:pt x="2001" y="1847"/>
                  </a:cubicBezTo>
                  <a:cubicBezTo>
                    <a:pt x="1984" y="1847"/>
                    <a:pt x="1984" y="1847"/>
                    <a:pt x="1984" y="1847"/>
                  </a:cubicBezTo>
                  <a:cubicBezTo>
                    <a:pt x="1958" y="1833"/>
                    <a:pt x="1958" y="1833"/>
                    <a:pt x="1958" y="1833"/>
                  </a:cubicBezTo>
                  <a:cubicBezTo>
                    <a:pt x="1955" y="1785"/>
                    <a:pt x="1955" y="1785"/>
                    <a:pt x="1955" y="1785"/>
                  </a:cubicBezTo>
                  <a:cubicBezTo>
                    <a:pt x="1932" y="1802"/>
                    <a:pt x="1932" y="1802"/>
                    <a:pt x="1932" y="1802"/>
                  </a:cubicBezTo>
                  <a:cubicBezTo>
                    <a:pt x="1922" y="1809"/>
                    <a:pt x="1922" y="1809"/>
                    <a:pt x="1922" y="1809"/>
                  </a:cubicBezTo>
                  <a:cubicBezTo>
                    <a:pt x="1872" y="1809"/>
                    <a:pt x="1872" y="1809"/>
                    <a:pt x="1872" y="1809"/>
                  </a:cubicBezTo>
                  <a:cubicBezTo>
                    <a:pt x="1831" y="1802"/>
                    <a:pt x="1831" y="1802"/>
                    <a:pt x="1831" y="1802"/>
                  </a:cubicBezTo>
                  <a:cubicBezTo>
                    <a:pt x="1812" y="1821"/>
                    <a:pt x="1812" y="1821"/>
                    <a:pt x="1812" y="1821"/>
                  </a:cubicBezTo>
                  <a:cubicBezTo>
                    <a:pt x="1798" y="1868"/>
                    <a:pt x="1798" y="1868"/>
                    <a:pt x="1798" y="1868"/>
                  </a:cubicBezTo>
                  <a:cubicBezTo>
                    <a:pt x="1824" y="1897"/>
                    <a:pt x="1824" y="1897"/>
                    <a:pt x="1824" y="1897"/>
                  </a:cubicBezTo>
                  <a:cubicBezTo>
                    <a:pt x="1814" y="1957"/>
                    <a:pt x="1814" y="1957"/>
                    <a:pt x="1814" y="1957"/>
                  </a:cubicBezTo>
                  <a:cubicBezTo>
                    <a:pt x="1776" y="1988"/>
                    <a:pt x="1776" y="1988"/>
                    <a:pt x="1776" y="1988"/>
                  </a:cubicBezTo>
                  <a:cubicBezTo>
                    <a:pt x="1745" y="1990"/>
                    <a:pt x="1745" y="1990"/>
                    <a:pt x="1745" y="1990"/>
                  </a:cubicBezTo>
                  <a:cubicBezTo>
                    <a:pt x="1700" y="1988"/>
                    <a:pt x="1700" y="1988"/>
                    <a:pt x="1700" y="1988"/>
                  </a:cubicBezTo>
                  <a:cubicBezTo>
                    <a:pt x="1688" y="2035"/>
                    <a:pt x="1688" y="2035"/>
                    <a:pt x="1688" y="2035"/>
                  </a:cubicBezTo>
                  <a:cubicBezTo>
                    <a:pt x="1633" y="2057"/>
                    <a:pt x="1633" y="2057"/>
                    <a:pt x="1633" y="2057"/>
                  </a:cubicBezTo>
                  <a:cubicBezTo>
                    <a:pt x="1626" y="2071"/>
                    <a:pt x="1626" y="2071"/>
                    <a:pt x="1626" y="2071"/>
                  </a:cubicBezTo>
                  <a:cubicBezTo>
                    <a:pt x="1576" y="2107"/>
                    <a:pt x="1576" y="2107"/>
                    <a:pt x="1576" y="2107"/>
                  </a:cubicBezTo>
                  <a:cubicBezTo>
                    <a:pt x="1528" y="2119"/>
                    <a:pt x="1528" y="2119"/>
                    <a:pt x="1528" y="2119"/>
                  </a:cubicBezTo>
                  <a:cubicBezTo>
                    <a:pt x="1500" y="2128"/>
                    <a:pt x="1500" y="2128"/>
                    <a:pt x="1500" y="2128"/>
                  </a:cubicBezTo>
                  <a:cubicBezTo>
                    <a:pt x="1485" y="2109"/>
                    <a:pt x="1485" y="2109"/>
                    <a:pt x="1485" y="2109"/>
                  </a:cubicBezTo>
                  <a:cubicBezTo>
                    <a:pt x="1480" y="2093"/>
                    <a:pt x="1480" y="2093"/>
                    <a:pt x="1480" y="2093"/>
                  </a:cubicBezTo>
                  <a:cubicBezTo>
                    <a:pt x="1514" y="2078"/>
                    <a:pt x="1514" y="2078"/>
                    <a:pt x="1514" y="2078"/>
                  </a:cubicBezTo>
                  <a:cubicBezTo>
                    <a:pt x="1542" y="2045"/>
                    <a:pt x="1542" y="2045"/>
                    <a:pt x="1542" y="2045"/>
                  </a:cubicBezTo>
                  <a:cubicBezTo>
                    <a:pt x="1504" y="2045"/>
                    <a:pt x="1504" y="2045"/>
                    <a:pt x="1504" y="2045"/>
                  </a:cubicBezTo>
                  <a:cubicBezTo>
                    <a:pt x="1497" y="2026"/>
                    <a:pt x="1497" y="2026"/>
                    <a:pt x="1497" y="2026"/>
                  </a:cubicBezTo>
                  <a:cubicBezTo>
                    <a:pt x="1526" y="1973"/>
                    <a:pt x="1526" y="1973"/>
                    <a:pt x="1526" y="1973"/>
                  </a:cubicBezTo>
                  <a:cubicBezTo>
                    <a:pt x="1542" y="1930"/>
                    <a:pt x="1542" y="1930"/>
                    <a:pt x="1542" y="1930"/>
                  </a:cubicBezTo>
                  <a:cubicBezTo>
                    <a:pt x="1562" y="1859"/>
                    <a:pt x="1562" y="1859"/>
                    <a:pt x="1562" y="1859"/>
                  </a:cubicBezTo>
                  <a:cubicBezTo>
                    <a:pt x="1600" y="1814"/>
                    <a:pt x="1600" y="1814"/>
                    <a:pt x="1600" y="1814"/>
                  </a:cubicBezTo>
                  <a:cubicBezTo>
                    <a:pt x="1721" y="1830"/>
                    <a:pt x="1721" y="1830"/>
                    <a:pt x="1721" y="1830"/>
                  </a:cubicBezTo>
                  <a:cubicBezTo>
                    <a:pt x="1702" y="1802"/>
                    <a:pt x="1702" y="1802"/>
                    <a:pt x="1702" y="1802"/>
                  </a:cubicBezTo>
                  <a:cubicBezTo>
                    <a:pt x="1669" y="1794"/>
                    <a:pt x="1669" y="1794"/>
                    <a:pt x="1669" y="1794"/>
                  </a:cubicBezTo>
                  <a:cubicBezTo>
                    <a:pt x="1607" y="1771"/>
                    <a:pt x="1607" y="1771"/>
                    <a:pt x="1607" y="1771"/>
                  </a:cubicBezTo>
                  <a:cubicBezTo>
                    <a:pt x="1559" y="1792"/>
                    <a:pt x="1559" y="1792"/>
                    <a:pt x="1559" y="1792"/>
                  </a:cubicBezTo>
                  <a:cubicBezTo>
                    <a:pt x="1514" y="1823"/>
                    <a:pt x="1514" y="1823"/>
                    <a:pt x="1514" y="1823"/>
                  </a:cubicBezTo>
                  <a:cubicBezTo>
                    <a:pt x="1471" y="1861"/>
                    <a:pt x="1471" y="1861"/>
                    <a:pt x="1471" y="1861"/>
                  </a:cubicBezTo>
                  <a:cubicBezTo>
                    <a:pt x="1454" y="1897"/>
                    <a:pt x="1454" y="1897"/>
                    <a:pt x="1454" y="1897"/>
                  </a:cubicBezTo>
                  <a:cubicBezTo>
                    <a:pt x="1445" y="1935"/>
                    <a:pt x="1445" y="1935"/>
                    <a:pt x="1445" y="1935"/>
                  </a:cubicBezTo>
                  <a:cubicBezTo>
                    <a:pt x="1421" y="1935"/>
                    <a:pt x="1421" y="1935"/>
                    <a:pt x="1421" y="1935"/>
                  </a:cubicBezTo>
                  <a:cubicBezTo>
                    <a:pt x="1416" y="1947"/>
                    <a:pt x="1416" y="1947"/>
                    <a:pt x="1416" y="1947"/>
                  </a:cubicBezTo>
                  <a:cubicBezTo>
                    <a:pt x="1428" y="1978"/>
                    <a:pt x="1428" y="1978"/>
                    <a:pt x="1428" y="1978"/>
                  </a:cubicBezTo>
                  <a:cubicBezTo>
                    <a:pt x="1423" y="2000"/>
                    <a:pt x="1423" y="2000"/>
                    <a:pt x="1423" y="2000"/>
                  </a:cubicBezTo>
                  <a:cubicBezTo>
                    <a:pt x="1402" y="2019"/>
                    <a:pt x="1402" y="2019"/>
                    <a:pt x="1402" y="2019"/>
                  </a:cubicBezTo>
                  <a:cubicBezTo>
                    <a:pt x="1356" y="2043"/>
                    <a:pt x="1356" y="2043"/>
                    <a:pt x="1356" y="2043"/>
                  </a:cubicBezTo>
                  <a:cubicBezTo>
                    <a:pt x="1325" y="2066"/>
                    <a:pt x="1325" y="2066"/>
                    <a:pt x="1325" y="2066"/>
                  </a:cubicBezTo>
                  <a:cubicBezTo>
                    <a:pt x="1294" y="2102"/>
                    <a:pt x="1294" y="2102"/>
                    <a:pt x="1294" y="2102"/>
                  </a:cubicBezTo>
                  <a:cubicBezTo>
                    <a:pt x="1287" y="2138"/>
                    <a:pt x="1287" y="2138"/>
                    <a:pt x="1287" y="2138"/>
                  </a:cubicBezTo>
                  <a:cubicBezTo>
                    <a:pt x="1337" y="2152"/>
                    <a:pt x="1337" y="2152"/>
                    <a:pt x="1337" y="2152"/>
                  </a:cubicBezTo>
                  <a:cubicBezTo>
                    <a:pt x="1344" y="2195"/>
                    <a:pt x="1344" y="2195"/>
                    <a:pt x="1344" y="2195"/>
                  </a:cubicBezTo>
                  <a:cubicBezTo>
                    <a:pt x="1323" y="2229"/>
                    <a:pt x="1323" y="2229"/>
                    <a:pt x="1323" y="2229"/>
                  </a:cubicBezTo>
                  <a:cubicBezTo>
                    <a:pt x="1285" y="2248"/>
                    <a:pt x="1285" y="2248"/>
                    <a:pt x="1285" y="2248"/>
                  </a:cubicBezTo>
                  <a:cubicBezTo>
                    <a:pt x="1247" y="2300"/>
                    <a:pt x="1247" y="2300"/>
                    <a:pt x="1247" y="2300"/>
                  </a:cubicBezTo>
                  <a:cubicBezTo>
                    <a:pt x="1185" y="2343"/>
                    <a:pt x="1185" y="2343"/>
                    <a:pt x="1185" y="2343"/>
                  </a:cubicBezTo>
                  <a:cubicBezTo>
                    <a:pt x="1061" y="2405"/>
                    <a:pt x="1061" y="2405"/>
                    <a:pt x="1061" y="2405"/>
                  </a:cubicBezTo>
                  <a:cubicBezTo>
                    <a:pt x="1051" y="2463"/>
                    <a:pt x="1051" y="2463"/>
                    <a:pt x="1051" y="2463"/>
                  </a:cubicBezTo>
                  <a:cubicBezTo>
                    <a:pt x="1001" y="2479"/>
                    <a:pt x="1001" y="2479"/>
                    <a:pt x="1001" y="2479"/>
                  </a:cubicBezTo>
                  <a:cubicBezTo>
                    <a:pt x="956" y="2513"/>
                    <a:pt x="956" y="2513"/>
                    <a:pt x="956" y="2513"/>
                  </a:cubicBezTo>
                  <a:cubicBezTo>
                    <a:pt x="894" y="2529"/>
                    <a:pt x="894" y="2529"/>
                    <a:pt x="894" y="2529"/>
                  </a:cubicBezTo>
                  <a:cubicBezTo>
                    <a:pt x="870" y="2544"/>
                    <a:pt x="870" y="2544"/>
                    <a:pt x="870" y="2544"/>
                  </a:cubicBezTo>
                  <a:cubicBezTo>
                    <a:pt x="841" y="2568"/>
                    <a:pt x="841" y="2568"/>
                    <a:pt x="841" y="2568"/>
                  </a:cubicBezTo>
                  <a:cubicBezTo>
                    <a:pt x="820" y="2587"/>
                    <a:pt x="820" y="2587"/>
                    <a:pt x="820" y="2587"/>
                  </a:cubicBezTo>
                  <a:cubicBezTo>
                    <a:pt x="805" y="2625"/>
                    <a:pt x="805" y="2625"/>
                    <a:pt x="805" y="2625"/>
                  </a:cubicBezTo>
                  <a:cubicBezTo>
                    <a:pt x="772" y="2637"/>
                    <a:pt x="772" y="2637"/>
                    <a:pt x="772" y="2637"/>
                  </a:cubicBezTo>
                  <a:cubicBezTo>
                    <a:pt x="726" y="2649"/>
                    <a:pt x="726" y="2649"/>
                    <a:pt x="726" y="2649"/>
                  </a:cubicBezTo>
                  <a:cubicBezTo>
                    <a:pt x="693" y="2649"/>
                    <a:pt x="693" y="2649"/>
                    <a:pt x="693" y="2649"/>
                  </a:cubicBezTo>
                  <a:cubicBezTo>
                    <a:pt x="657" y="2661"/>
                    <a:pt x="657" y="2661"/>
                    <a:pt x="657" y="2661"/>
                  </a:cubicBezTo>
                  <a:cubicBezTo>
                    <a:pt x="610" y="2687"/>
                    <a:pt x="610" y="2687"/>
                    <a:pt x="610" y="2687"/>
                  </a:cubicBezTo>
                  <a:cubicBezTo>
                    <a:pt x="619" y="2727"/>
                    <a:pt x="619" y="2727"/>
                    <a:pt x="619" y="2727"/>
                  </a:cubicBezTo>
                  <a:cubicBezTo>
                    <a:pt x="607" y="2732"/>
                    <a:pt x="607" y="2732"/>
                    <a:pt x="607" y="2732"/>
                  </a:cubicBezTo>
                  <a:cubicBezTo>
                    <a:pt x="569" y="2711"/>
                    <a:pt x="569" y="2711"/>
                    <a:pt x="569" y="2711"/>
                  </a:cubicBezTo>
                  <a:cubicBezTo>
                    <a:pt x="536" y="2699"/>
                    <a:pt x="536" y="2699"/>
                    <a:pt x="536" y="2699"/>
                  </a:cubicBezTo>
                  <a:cubicBezTo>
                    <a:pt x="509" y="2653"/>
                    <a:pt x="509" y="2653"/>
                    <a:pt x="509" y="2653"/>
                  </a:cubicBezTo>
                  <a:cubicBezTo>
                    <a:pt x="500" y="2670"/>
                    <a:pt x="500" y="2670"/>
                    <a:pt x="500" y="2670"/>
                  </a:cubicBezTo>
                  <a:cubicBezTo>
                    <a:pt x="502" y="2727"/>
                    <a:pt x="502" y="2727"/>
                    <a:pt x="502" y="2727"/>
                  </a:cubicBezTo>
                  <a:cubicBezTo>
                    <a:pt x="462" y="2727"/>
                    <a:pt x="462" y="2727"/>
                    <a:pt x="462" y="2727"/>
                  </a:cubicBezTo>
                  <a:cubicBezTo>
                    <a:pt x="459" y="2749"/>
                    <a:pt x="459" y="2749"/>
                    <a:pt x="459" y="2749"/>
                  </a:cubicBezTo>
                  <a:cubicBezTo>
                    <a:pt x="421" y="2746"/>
                    <a:pt x="421" y="2746"/>
                    <a:pt x="421" y="2746"/>
                  </a:cubicBezTo>
                  <a:cubicBezTo>
                    <a:pt x="421" y="2746"/>
                    <a:pt x="421" y="2746"/>
                    <a:pt x="419" y="2739"/>
                  </a:cubicBezTo>
                  <a:cubicBezTo>
                    <a:pt x="416" y="2732"/>
                    <a:pt x="402" y="2735"/>
                    <a:pt x="402" y="2735"/>
                  </a:cubicBezTo>
                  <a:cubicBezTo>
                    <a:pt x="373" y="2730"/>
                    <a:pt x="373" y="2730"/>
                    <a:pt x="373" y="2730"/>
                  </a:cubicBezTo>
                  <a:cubicBezTo>
                    <a:pt x="338" y="2739"/>
                    <a:pt x="338" y="2739"/>
                    <a:pt x="338" y="2739"/>
                  </a:cubicBezTo>
                  <a:cubicBezTo>
                    <a:pt x="297" y="2777"/>
                    <a:pt x="297" y="2777"/>
                    <a:pt x="297" y="2777"/>
                  </a:cubicBezTo>
                  <a:cubicBezTo>
                    <a:pt x="221" y="2777"/>
                    <a:pt x="221" y="2777"/>
                    <a:pt x="221" y="2777"/>
                  </a:cubicBezTo>
                  <a:cubicBezTo>
                    <a:pt x="151" y="2777"/>
                    <a:pt x="151" y="2777"/>
                    <a:pt x="151" y="2777"/>
                  </a:cubicBezTo>
                  <a:cubicBezTo>
                    <a:pt x="151" y="2751"/>
                    <a:pt x="151" y="2751"/>
                    <a:pt x="151" y="2751"/>
                  </a:cubicBezTo>
                  <a:cubicBezTo>
                    <a:pt x="194" y="2699"/>
                    <a:pt x="194" y="2699"/>
                    <a:pt x="194" y="2699"/>
                  </a:cubicBezTo>
                  <a:cubicBezTo>
                    <a:pt x="280" y="2699"/>
                    <a:pt x="280" y="2699"/>
                    <a:pt x="280" y="2699"/>
                  </a:cubicBezTo>
                  <a:cubicBezTo>
                    <a:pt x="318" y="2699"/>
                    <a:pt x="318" y="2699"/>
                    <a:pt x="318" y="2699"/>
                  </a:cubicBezTo>
                  <a:cubicBezTo>
                    <a:pt x="347" y="2680"/>
                    <a:pt x="347" y="2680"/>
                    <a:pt x="347" y="2680"/>
                  </a:cubicBezTo>
                  <a:cubicBezTo>
                    <a:pt x="397" y="2665"/>
                    <a:pt x="397" y="2665"/>
                    <a:pt x="397" y="2665"/>
                  </a:cubicBezTo>
                  <a:cubicBezTo>
                    <a:pt x="421" y="2646"/>
                    <a:pt x="421" y="2646"/>
                    <a:pt x="421" y="2646"/>
                  </a:cubicBezTo>
                  <a:cubicBezTo>
                    <a:pt x="440" y="2613"/>
                    <a:pt x="440" y="2613"/>
                    <a:pt x="440" y="2613"/>
                  </a:cubicBezTo>
                  <a:cubicBezTo>
                    <a:pt x="481" y="2591"/>
                    <a:pt x="481" y="2591"/>
                    <a:pt x="481" y="2591"/>
                  </a:cubicBezTo>
                  <a:cubicBezTo>
                    <a:pt x="543" y="2587"/>
                    <a:pt x="543" y="2587"/>
                    <a:pt x="543" y="2587"/>
                  </a:cubicBezTo>
                  <a:cubicBezTo>
                    <a:pt x="579" y="2587"/>
                    <a:pt x="579" y="2587"/>
                    <a:pt x="579" y="2587"/>
                  </a:cubicBezTo>
                  <a:cubicBezTo>
                    <a:pt x="607" y="2613"/>
                    <a:pt x="607" y="2613"/>
                    <a:pt x="607" y="2613"/>
                  </a:cubicBezTo>
                  <a:cubicBezTo>
                    <a:pt x="631" y="2591"/>
                    <a:pt x="631" y="2591"/>
                    <a:pt x="631" y="2591"/>
                  </a:cubicBezTo>
                  <a:cubicBezTo>
                    <a:pt x="662" y="2548"/>
                    <a:pt x="662" y="2548"/>
                    <a:pt x="662" y="2548"/>
                  </a:cubicBezTo>
                  <a:cubicBezTo>
                    <a:pt x="698" y="2515"/>
                    <a:pt x="698" y="2515"/>
                    <a:pt x="698" y="2515"/>
                  </a:cubicBezTo>
                  <a:cubicBezTo>
                    <a:pt x="731" y="2496"/>
                    <a:pt x="731" y="2496"/>
                    <a:pt x="731" y="2496"/>
                  </a:cubicBezTo>
                  <a:cubicBezTo>
                    <a:pt x="803" y="2482"/>
                    <a:pt x="803" y="2482"/>
                    <a:pt x="803" y="2482"/>
                  </a:cubicBezTo>
                  <a:cubicBezTo>
                    <a:pt x="831" y="2458"/>
                    <a:pt x="831" y="2458"/>
                    <a:pt x="831" y="2458"/>
                  </a:cubicBezTo>
                  <a:cubicBezTo>
                    <a:pt x="860" y="2420"/>
                    <a:pt x="860" y="2420"/>
                    <a:pt x="860" y="2420"/>
                  </a:cubicBezTo>
                  <a:cubicBezTo>
                    <a:pt x="908" y="2384"/>
                    <a:pt x="908" y="2384"/>
                    <a:pt x="908" y="2384"/>
                  </a:cubicBezTo>
                  <a:cubicBezTo>
                    <a:pt x="941" y="2367"/>
                    <a:pt x="941" y="2367"/>
                    <a:pt x="941" y="2367"/>
                  </a:cubicBezTo>
                  <a:cubicBezTo>
                    <a:pt x="951" y="2319"/>
                    <a:pt x="951" y="2319"/>
                    <a:pt x="951" y="2319"/>
                  </a:cubicBezTo>
                  <a:cubicBezTo>
                    <a:pt x="960" y="2262"/>
                    <a:pt x="960" y="2262"/>
                    <a:pt x="960" y="2262"/>
                  </a:cubicBezTo>
                  <a:cubicBezTo>
                    <a:pt x="975" y="2222"/>
                    <a:pt x="975" y="2222"/>
                    <a:pt x="975" y="2222"/>
                  </a:cubicBezTo>
                  <a:cubicBezTo>
                    <a:pt x="979" y="2202"/>
                    <a:pt x="979" y="2202"/>
                    <a:pt x="979" y="2202"/>
                  </a:cubicBezTo>
                  <a:cubicBezTo>
                    <a:pt x="1013" y="2157"/>
                    <a:pt x="1013" y="2157"/>
                    <a:pt x="1013" y="2157"/>
                  </a:cubicBezTo>
                  <a:cubicBezTo>
                    <a:pt x="996" y="2157"/>
                    <a:pt x="996" y="2157"/>
                    <a:pt x="996" y="2157"/>
                  </a:cubicBezTo>
                  <a:cubicBezTo>
                    <a:pt x="963" y="2162"/>
                    <a:pt x="963" y="2162"/>
                    <a:pt x="963" y="2162"/>
                  </a:cubicBezTo>
                  <a:cubicBezTo>
                    <a:pt x="941" y="2162"/>
                    <a:pt x="941" y="2162"/>
                    <a:pt x="941" y="2162"/>
                  </a:cubicBezTo>
                  <a:cubicBezTo>
                    <a:pt x="905" y="2160"/>
                    <a:pt x="905" y="2160"/>
                    <a:pt x="905" y="2160"/>
                  </a:cubicBezTo>
                  <a:cubicBezTo>
                    <a:pt x="894" y="2145"/>
                    <a:pt x="894" y="2145"/>
                    <a:pt x="894" y="2145"/>
                  </a:cubicBezTo>
                  <a:cubicBezTo>
                    <a:pt x="925" y="2109"/>
                    <a:pt x="925" y="2109"/>
                    <a:pt x="925" y="2109"/>
                  </a:cubicBezTo>
                  <a:cubicBezTo>
                    <a:pt x="894" y="2114"/>
                    <a:pt x="894" y="2114"/>
                    <a:pt x="894" y="2114"/>
                  </a:cubicBezTo>
                  <a:cubicBezTo>
                    <a:pt x="867" y="2138"/>
                    <a:pt x="867" y="2138"/>
                    <a:pt x="867" y="2138"/>
                  </a:cubicBezTo>
                  <a:cubicBezTo>
                    <a:pt x="858" y="2181"/>
                    <a:pt x="858" y="2181"/>
                    <a:pt x="858" y="2181"/>
                  </a:cubicBezTo>
                  <a:cubicBezTo>
                    <a:pt x="839" y="2202"/>
                    <a:pt x="839" y="2202"/>
                    <a:pt x="839" y="2202"/>
                  </a:cubicBezTo>
                  <a:cubicBezTo>
                    <a:pt x="831" y="2183"/>
                    <a:pt x="831" y="2183"/>
                    <a:pt x="831" y="2183"/>
                  </a:cubicBezTo>
                  <a:cubicBezTo>
                    <a:pt x="810" y="2155"/>
                    <a:pt x="810" y="2155"/>
                    <a:pt x="810" y="2155"/>
                  </a:cubicBezTo>
                  <a:cubicBezTo>
                    <a:pt x="774" y="2124"/>
                    <a:pt x="774" y="2124"/>
                    <a:pt x="774" y="2124"/>
                  </a:cubicBezTo>
                  <a:cubicBezTo>
                    <a:pt x="719" y="2086"/>
                    <a:pt x="719" y="2086"/>
                    <a:pt x="719" y="2086"/>
                  </a:cubicBezTo>
                  <a:cubicBezTo>
                    <a:pt x="705" y="2086"/>
                    <a:pt x="705" y="2086"/>
                    <a:pt x="705" y="2086"/>
                  </a:cubicBezTo>
                  <a:cubicBezTo>
                    <a:pt x="657" y="2124"/>
                    <a:pt x="657" y="2124"/>
                    <a:pt x="657" y="2124"/>
                  </a:cubicBezTo>
                  <a:cubicBezTo>
                    <a:pt x="629" y="2124"/>
                    <a:pt x="629" y="2124"/>
                    <a:pt x="629" y="2124"/>
                  </a:cubicBezTo>
                  <a:cubicBezTo>
                    <a:pt x="586" y="2124"/>
                    <a:pt x="586" y="2124"/>
                    <a:pt x="586" y="2124"/>
                  </a:cubicBezTo>
                  <a:cubicBezTo>
                    <a:pt x="595" y="2033"/>
                    <a:pt x="595" y="2033"/>
                    <a:pt x="595" y="2033"/>
                  </a:cubicBezTo>
                  <a:cubicBezTo>
                    <a:pt x="600" y="2007"/>
                    <a:pt x="600" y="2007"/>
                    <a:pt x="600" y="2007"/>
                  </a:cubicBezTo>
                  <a:cubicBezTo>
                    <a:pt x="624" y="1976"/>
                    <a:pt x="624" y="1976"/>
                    <a:pt x="624" y="1976"/>
                  </a:cubicBezTo>
                  <a:cubicBezTo>
                    <a:pt x="622" y="1942"/>
                    <a:pt x="622" y="1942"/>
                    <a:pt x="622" y="1942"/>
                  </a:cubicBezTo>
                  <a:cubicBezTo>
                    <a:pt x="612" y="1885"/>
                    <a:pt x="612" y="1885"/>
                    <a:pt x="612" y="1885"/>
                  </a:cubicBezTo>
                  <a:cubicBezTo>
                    <a:pt x="600" y="1828"/>
                    <a:pt x="600" y="1828"/>
                    <a:pt x="600" y="1828"/>
                  </a:cubicBezTo>
                  <a:cubicBezTo>
                    <a:pt x="583" y="1842"/>
                    <a:pt x="583" y="1842"/>
                    <a:pt x="583" y="1842"/>
                  </a:cubicBezTo>
                  <a:cubicBezTo>
                    <a:pt x="555" y="1873"/>
                    <a:pt x="555" y="1873"/>
                    <a:pt x="555" y="1873"/>
                  </a:cubicBezTo>
                  <a:cubicBezTo>
                    <a:pt x="538" y="1885"/>
                    <a:pt x="538" y="1885"/>
                    <a:pt x="538" y="1885"/>
                  </a:cubicBezTo>
                  <a:cubicBezTo>
                    <a:pt x="514" y="1885"/>
                    <a:pt x="514" y="1885"/>
                    <a:pt x="514" y="1885"/>
                  </a:cubicBezTo>
                  <a:cubicBezTo>
                    <a:pt x="493" y="1868"/>
                    <a:pt x="493" y="1868"/>
                    <a:pt x="493" y="1868"/>
                  </a:cubicBezTo>
                  <a:cubicBezTo>
                    <a:pt x="483" y="1868"/>
                    <a:pt x="483" y="1868"/>
                    <a:pt x="483" y="1868"/>
                  </a:cubicBezTo>
                  <a:cubicBezTo>
                    <a:pt x="454" y="1852"/>
                    <a:pt x="454" y="1852"/>
                    <a:pt x="454" y="1852"/>
                  </a:cubicBezTo>
                  <a:cubicBezTo>
                    <a:pt x="435" y="1833"/>
                    <a:pt x="435" y="1833"/>
                    <a:pt x="435" y="1833"/>
                  </a:cubicBezTo>
                  <a:cubicBezTo>
                    <a:pt x="409" y="1814"/>
                    <a:pt x="409" y="1814"/>
                    <a:pt x="409" y="1814"/>
                  </a:cubicBezTo>
                  <a:cubicBezTo>
                    <a:pt x="392" y="1794"/>
                    <a:pt x="392" y="1794"/>
                    <a:pt x="392" y="1794"/>
                  </a:cubicBezTo>
                  <a:cubicBezTo>
                    <a:pt x="385" y="1773"/>
                    <a:pt x="385" y="1773"/>
                    <a:pt x="385" y="1773"/>
                  </a:cubicBezTo>
                  <a:cubicBezTo>
                    <a:pt x="381" y="1725"/>
                    <a:pt x="381" y="1725"/>
                    <a:pt x="381" y="1725"/>
                  </a:cubicBezTo>
                  <a:cubicBezTo>
                    <a:pt x="407" y="1704"/>
                    <a:pt x="407" y="1704"/>
                    <a:pt x="407" y="1704"/>
                  </a:cubicBezTo>
                  <a:cubicBezTo>
                    <a:pt x="435" y="1704"/>
                    <a:pt x="435" y="1704"/>
                    <a:pt x="435" y="1704"/>
                  </a:cubicBezTo>
                  <a:cubicBezTo>
                    <a:pt x="466" y="1704"/>
                    <a:pt x="466" y="1704"/>
                    <a:pt x="466" y="1704"/>
                  </a:cubicBezTo>
                  <a:cubicBezTo>
                    <a:pt x="500" y="1725"/>
                    <a:pt x="500" y="1725"/>
                    <a:pt x="500" y="1725"/>
                  </a:cubicBezTo>
                  <a:cubicBezTo>
                    <a:pt x="517" y="1694"/>
                    <a:pt x="517" y="1694"/>
                    <a:pt x="517" y="1694"/>
                  </a:cubicBezTo>
                  <a:cubicBezTo>
                    <a:pt x="497" y="1670"/>
                    <a:pt x="497" y="1670"/>
                    <a:pt x="497" y="1670"/>
                  </a:cubicBezTo>
                  <a:cubicBezTo>
                    <a:pt x="486" y="1670"/>
                    <a:pt x="486" y="1670"/>
                    <a:pt x="486" y="1670"/>
                  </a:cubicBezTo>
                  <a:cubicBezTo>
                    <a:pt x="454" y="1670"/>
                    <a:pt x="454" y="1670"/>
                    <a:pt x="454" y="1670"/>
                  </a:cubicBezTo>
                  <a:cubicBezTo>
                    <a:pt x="431" y="1670"/>
                    <a:pt x="431" y="1670"/>
                    <a:pt x="431" y="1670"/>
                  </a:cubicBezTo>
                  <a:cubicBezTo>
                    <a:pt x="392" y="1644"/>
                    <a:pt x="392" y="1644"/>
                    <a:pt x="392" y="1644"/>
                  </a:cubicBezTo>
                  <a:cubicBezTo>
                    <a:pt x="376" y="1618"/>
                    <a:pt x="376" y="1618"/>
                    <a:pt x="376" y="1618"/>
                  </a:cubicBezTo>
                  <a:cubicBezTo>
                    <a:pt x="364" y="1584"/>
                    <a:pt x="364" y="1584"/>
                    <a:pt x="364" y="1584"/>
                  </a:cubicBezTo>
                  <a:cubicBezTo>
                    <a:pt x="347" y="1544"/>
                    <a:pt x="347" y="1544"/>
                    <a:pt x="347" y="1544"/>
                  </a:cubicBezTo>
                  <a:cubicBezTo>
                    <a:pt x="347" y="1532"/>
                    <a:pt x="347" y="1532"/>
                    <a:pt x="347" y="1532"/>
                  </a:cubicBezTo>
                  <a:cubicBezTo>
                    <a:pt x="366" y="1518"/>
                    <a:pt x="366" y="1518"/>
                    <a:pt x="366" y="1518"/>
                  </a:cubicBezTo>
                  <a:cubicBezTo>
                    <a:pt x="383" y="1482"/>
                    <a:pt x="383" y="1482"/>
                    <a:pt x="383" y="1482"/>
                  </a:cubicBezTo>
                  <a:cubicBezTo>
                    <a:pt x="421" y="1441"/>
                    <a:pt x="421" y="1441"/>
                    <a:pt x="421" y="1441"/>
                  </a:cubicBezTo>
                  <a:cubicBezTo>
                    <a:pt x="462" y="1417"/>
                    <a:pt x="462" y="1417"/>
                    <a:pt x="462" y="1417"/>
                  </a:cubicBezTo>
                  <a:cubicBezTo>
                    <a:pt x="488" y="1379"/>
                    <a:pt x="488" y="1379"/>
                    <a:pt x="488" y="1379"/>
                  </a:cubicBezTo>
                  <a:cubicBezTo>
                    <a:pt x="497" y="1344"/>
                    <a:pt x="497" y="1344"/>
                    <a:pt x="497" y="1344"/>
                  </a:cubicBezTo>
                  <a:cubicBezTo>
                    <a:pt x="533" y="1310"/>
                    <a:pt x="533" y="1310"/>
                    <a:pt x="533" y="1310"/>
                  </a:cubicBezTo>
                  <a:cubicBezTo>
                    <a:pt x="555" y="1305"/>
                    <a:pt x="555" y="1305"/>
                    <a:pt x="555" y="1305"/>
                  </a:cubicBezTo>
                  <a:cubicBezTo>
                    <a:pt x="581" y="1315"/>
                    <a:pt x="581" y="1315"/>
                    <a:pt x="581" y="1315"/>
                  </a:cubicBezTo>
                  <a:cubicBezTo>
                    <a:pt x="600" y="1344"/>
                    <a:pt x="600" y="1344"/>
                    <a:pt x="600" y="1344"/>
                  </a:cubicBezTo>
                  <a:cubicBezTo>
                    <a:pt x="617" y="1344"/>
                    <a:pt x="617" y="1344"/>
                    <a:pt x="617" y="1344"/>
                  </a:cubicBezTo>
                  <a:cubicBezTo>
                    <a:pt x="641" y="1344"/>
                    <a:pt x="641" y="1344"/>
                    <a:pt x="641" y="1344"/>
                  </a:cubicBezTo>
                  <a:cubicBezTo>
                    <a:pt x="655" y="1344"/>
                    <a:pt x="655" y="1344"/>
                    <a:pt x="655" y="1344"/>
                  </a:cubicBezTo>
                  <a:cubicBezTo>
                    <a:pt x="679" y="1315"/>
                    <a:pt x="679" y="1315"/>
                    <a:pt x="679" y="1315"/>
                  </a:cubicBezTo>
                  <a:cubicBezTo>
                    <a:pt x="695" y="1315"/>
                    <a:pt x="695" y="1315"/>
                    <a:pt x="695" y="1315"/>
                  </a:cubicBezTo>
                  <a:cubicBezTo>
                    <a:pt x="703" y="1301"/>
                    <a:pt x="703" y="1301"/>
                    <a:pt x="703" y="1301"/>
                  </a:cubicBezTo>
                  <a:cubicBezTo>
                    <a:pt x="717" y="1284"/>
                    <a:pt x="717" y="1284"/>
                    <a:pt x="717" y="1284"/>
                  </a:cubicBezTo>
                  <a:cubicBezTo>
                    <a:pt x="724" y="1301"/>
                    <a:pt x="724" y="1301"/>
                    <a:pt x="724" y="1301"/>
                  </a:cubicBezTo>
                  <a:cubicBezTo>
                    <a:pt x="748" y="1301"/>
                    <a:pt x="748" y="1301"/>
                    <a:pt x="748" y="1301"/>
                  </a:cubicBezTo>
                  <a:cubicBezTo>
                    <a:pt x="760" y="1301"/>
                    <a:pt x="760" y="1301"/>
                    <a:pt x="760" y="1301"/>
                  </a:cubicBezTo>
                  <a:cubicBezTo>
                    <a:pt x="786" y="1301"/>
                    <a:pt x="786" y="1301"/>
                    <a:pt x="786" y="1301"/>
                  </a:cubicBezTo>
                  <a:cubicBezTo>
                    <a:pt x="808" y="1281"/>
                    <a:pt x="808" y="1281"/>
                    <a:pt x="808" y="1281"/>
                  </a:cubicBezTo>
                  <a:cubicBezTo>
                    <a:pt x="827" y="1281"/>
                    <a:pt x="827" y="1281"/>
                    <a:pt x="827" y="1281"/>
                  </a:cubicBezTo>
                  <a:cubicBezTo>
                    <a:pt x="839" y="1236"/>
                    <a:pt x="839" y="1236"/>
                    <a:pt x="839" y="1236"/>
                  </a:cubicBezTo>
                  <a:cubicBezTo>
                    <a:pt x="824" y="1198"/>
                    <a:pt x="824" y="1198"/>
                    <a:pt x="824" y="1198"/>
                  </a:cubicBezTo>
                  <a:cubicBezTo>
                    <a:pt x="808" y="1145"/>
                    <a:pt x="808" y="1145"/>
                    <a:pt x="808" y="1145"/>
                  </a:cubicBezTo>
                  <a:cubicBezTo>
                    <a:pt x="836" y="1145"/>
                    <a:pt x="836" y="1145"/>
                    <a:pt x="836" y="1145"/>
                  </a:cubicBezTo>
                  <a:cubicBezTo>
                    <a:pt x="865" y="1114"/>
                    <a:pt x="865" y="1114"/>
                    <a:pt x="865" y="1114"/>
                  </a:cubicBezTo>
                  <a:cubicBezTo>
                    <a:pt x="858" y="1076"/>
                    <a:pt x="858" y="1076"/>
                    <a:pt x="858" y="1076"/>
                  </a:cubicBezTo>
                  <a:cubicBezTo>
                    <a:pt x="817" y="1067"/>
                    <a:pt x="817" y="1067"/>
                    <a:pt x="817" y="1067"/>
                  </a:cubicBezTo>
                  <a:cubicBezTo>
                    <a:pt x="796" y="1067"/>
                    <a:pt x="796" y="1067"/>
                    <a:pt x="796" y="1067"/>
                  </a:cubicBezTo>
                  <a:cubicBezTo>
                    <a:pt x="772" y="1074"/>
                    <a:pt x="772" y="1074"/>
                    <a:pt x="772" y="1074"/>
                  </a:cubicBezTo>
                  <a:cubicBezTo>
                    <a:pt x="755" y="1088"/>
                    <a:pt x="755" y="1088"/>
                    <a:pt x="755" y="1088"/>
                  </a:cubicBezTo>
                  <a:cubicBezTo>
                    <a:pt x="738" y="1114"/>
                    <a:pt x="738" y="1114"/>
                    <a:pt x="738" y="1114"/>
                  </a:cubicBezTo>
                  <a:cubicBezTo>
                    <a:pt x="719" y="1114"/>
                    <a:pt x="719" y="1114"/>
                    <a:pt x="719" y="1114"/>
                  </a:cubicBezTo>
                  <a:cubicBezTo>
                    <a:pt x="698" y="1074"/>
                    <a:pt x="698" y="1074"/>
                    <a:pt x="698" y="1074"/>
                  </a:cubicBezTo>
                  <a:cubicBezTo>
                    <a:pt x="638" y="1074"/>
                    <a:pt x="638" y="1074"/>
                    <a:pt x="638" y="1074"/>
                  </a:cubicBezTo>
                  <a:cubicBezTo>
                    <a:pt x="576" y="1074"/>
                    <a:pt x="576" y="1074"/>
                    <a:pt x="576" y="1074"/>
                  </a:cubicBezTo>
                  <a:cubicBezTo>
                    <a:pt x="528" y="1062"/>
                    <a:pt x="528" y="1062"/>
                    <a:pt x="528" y="1062"/>
                  </a:cubicBezTo>
                  <a:cubicBezTo>
                    <a:pt x="481" y="1040"/>
                    <a:pt x="481" y="1040"/>
                    <a:pt x="481" y="1040"/>
                  </a:cubicBezTo>
                  <a:cubicBezTo>
                    <a:pt x="457" y="1007"/>
                    <a:pt x="457" y="1007"/>
                    <a:pt x="457" y="1007"/>
                  </a:cubicBezTo>
                  <a:cubicBezTo>
                    <a:pt x="445" y="938"/>
                    <a:pt x="445" y="938"/>
                    <a:pt x="445" y="938"/>
                  </a:cubicBezTo>
                  <a:cubicBezTo>
                    <a:pt x="483" y="921"/>
                    <a:pt x="483" y="921"/>
                    <a:pt x="483" y="921"/>
                  </a:cubicBezTo>
                  <a:cubicBezTo>
                    <a:pt x="502" y="909"/>
                    <a:pt x="502" y="909"/>
                    <a:pt x="502" y="909"/>
                  </a:cubicBezTo>
                  <a:cubicBezTo>
                    <a:pt x="457" y="888"/>
                    <a:pt x="457" y="888"/>
                    <a:pt x="457" y="888"/>
                  </a:cubicBezTo>
                  <a:cubicBezTo>
                    <a:pt x="423" y="869"/>
                    <a:pt x="423" y="869"/>
                    <a:pt x="423" y="869"/>
                  </a:cubicBezTo>
                  <a:cubicBezTo>
                    <a:pt x="395" y="840"/>
                    <a:pt x="395" y="840"/>
                    <a:pt x="395" y="840"/>
                  </a:cubicBezTo>
                  <a:cubicBezTo>
                    <a:pt x="383" y="826"/>
                    <a:pt x="383" y="826"/>
                    <a:pt x="383" y="826"/>
                  </a:cubicBezTo>
                  <a:cubicBezTo>
                    <a:pt x="409" y="807"/>
                    <a:pt x="409" y="807"/>
                    <a:pt x="409" y="807"/>
                  </a:cubicBezTo>
                  <a:cubicBezTo>
                    <a:pt x="435" y="807"/>
                    <a:pt x="435" y="807"/>
                    <a:pt x="435" y="807"/>
                  </a:cubicBezTo>
                  <a:cubicBezTo>
                    <a:pt x="474" y="799"/>
                    <a:pt x="474" y="799"/>
                    <a:pt x="474" y="799"/>
                  </a:cubicBezTo>
                  <a:cubicBezTo>
                    <a:pt x="528" y="766"/>
                    <a:pt x="528" y="766"/>
                    <a:pt x="528" y="766"/>
                  </a:cubicBezTo>
                  <a:cubicBezTo>
                    <a:pt x="540" y="776"/>
                    <a:pt x="540" y="776"/>
                    <a:pt x="540" y="776"/>
                  </a:cubicBezTo>
                  <a:cubicBezTo>
                    <a:pt x="569" y="766"/>
                    <a:pt x="569" y="766"/>
                    <a:pt x="569" y="766"/>
                  </a:cubicBezTo>
                  <a:cubicBezTo>
                    <a:pt x="569" y="754"/>
                    <a:pt x="569" y="754"/>
                    <a:pt x="569" y="754"/>
                  </a:cubicBezTo>
                  <a:cubicBezTo>
                    <a:pt x="590" y="747"/>
                    <a:pt x="590" y="747"/>
                    <a:pt x="590" y="747"/>
                  </a:cubicBezTo>
                  <a:cubicBezTo>
                    <a:pt x="633" y="745"/>
                    <a:pt x="633" y="745"/>
                    <a:pt x="633" y="745"/>
                  </a:cubicBezTo>
                  <a:cubicBezTo>
                    <a:pt x="681" y="742"/>
                    <a:pt x="681" y="742"/>
                    <a:pt x="681" y="742"/>
                  </a:cubicBezTo>
                  <a:cubicBezTo>
                    <a:pt x="703" y="759"/>
                    <a:pt x="703" y="759"/>
                    <a:pt x="703" y="759"/>
                  </a:cubicBezTo>
                  <a:cubicBezTo>
                    <a:pt x="693" y="790"/>
                    <a:pt x="693" y="790"/>
                    <a:pt x="693" y="790"/>
                  </a:cubicBezTo>
                  <a:cubicBezTo>
                    <a:pt x="691" y="802"/>
                    <a:pt x="691" y="802"/>
                    <a:pt x="691" y="802"/>
                  </a:cubicBezTo>
                  <a:cubicBezTo>
                    <a:pt x="712" y="821"/>
                    <a:pt x="712" y="821"/>
                    <a:pt x="712" y="821"/>
                  </a:cubicBezTo>
                  <a:cubicBezTo>
                    <a:pt x="731" y="840"/>
                    <a:pt x="731" y="840"/>
                    <a:pt x="731" y="840"/>
                  </a:cubicBezTo>
                  <a:cubicBezTo>
                    <a:pt x="774" y="838"/>
                    <a:pt x="774" y="838"/>
                    <a:pt x="774" y="838"/>
                  </a:cubicBezTo>
                  <a:cubicBezTo>
                    <a:pt x="827" y="852"/>
                    <a:pt x="827" y="852"/>
                    <a:pt x="827" y="852"/>
                  </a:cubicBezTo>
                  <a:cubicBezTo>
                    <a:pt x="867" y="833"/>
                    <a:pt x="867" y="833"/>
                    <a:pt x="867" y="833"/>
                  </a:cubicBezTo>
                  <a:cubicBezTo>
                    <a:pt x="896" y="807"/>
                    <a:pt x="896" y="807"/>
                    <a:pt x="896" y="807"/>
                  </a:cubicBezTo>
                  <a:cubicBezTo>
                    <a:pt x="929" y="785"/>
                    <a:pt x="929" y="785"/>
                    <a:pt x="929" y="785"/>
                  </a:cubicBezTo>
                  <a:cubicBezTo>
                    <a:pt x="929" y="785"/>
                    <a:pt x="905" y="773"/>
                    <a:pt x="896" y="771"/>
                  </a:cubicBezTo>
                  <a:cubicBezTo>
                    <a:pt x="886" y="768"/>
                    <a:pt x="867" y="759"/>
                    <a:pt x="867" y="759"/>
                  </a:cubicBezTo>
                  <a:cubicBezTo>
                    <a:pt x="848" y="740"/>
                    <a:pt x="848" y="740"/>
                    <a:pt x="848" y="740"/>
                  </a:cubicBezTo>
                  <a:cubicBezTo>
                    <a:pt x="848" y="714"/>
                    <a:pt x="848" y="714"/>
                    <a:pt x="848" y="714"/>
                  </a:cubicBezTo>
                  <a:cubicBezTo>
                    <a:pt x="841" y="683"/>
                    <a:pt x="841" y="683"/>
                    <a:pt x="841" y="683"/>
                  </a:cubicBezTo>
                  <a:cubicBezTo>
                    <a:pt x="741" y="652"/>
                    <a:pt x="741" y="652"/>
                    <a:pt x="741" y="652"/>
                  </a:cubicBezTo>
                  <a:cubicBezTo>
                    <a:pt x="738" y="549"/>
                    <a:pt x="738" y="549"/>
                    <a:pt x="738" y="549"/>
                  </a:cubicBezTo>
                  <a:cubicBezTo>
                    <a:pt x="688" y="499"/>
                    <a:pt x="688" y="499"/>
                    <a:pt x="688" y="499"/>
                  </a:cubicBezTo>
                  <a:cubicBezTo>
                    <a:pt x="590" y="394"/>
                    <a:pt x="590" y="394"/>
                    <a:pt x="590" y="394"/>
                  </a:cubicBezTo>
                  <a:cubicBezTo>
                    <a:pt x="607" y="394"/>
                    <a:pt x="607" y="394"/>
                    <a:pt x="607" y="394"/>
                  </a:cubicBezTo>
                  <a:cubicBezTo>
                    <a:pt x="607" y="377"/>
                    <a:pt x="607" y="377"/>
                    <a:pt x="607" y="377"/>
                  </a:cubicBezTo>
                  <a:cubicBezTo>
                    <a:pt x="638" y="377"/>
                    <a:pt x="638" y="377"/>
                    <a:pt x="638" y="377"/>
                  </a:cubicBezTo>
                  <a:cubicBezTo>
                    <a:pt x="638" y="346"/>
                    <a:pt x="638" y="346"/>
                    <a:pt x="638" y="346"/>
                  </a:cubicBezTo>
                  <a:cubicBezTo>
                    <a:pt x="650" y="310"/>
                    <a:pt x="650" y="310"/>
                    <a:pt x="650" y="310"/>
                  </a:cubicBezTo>
                  <a:cubicBezTo>
                    <a:pt x="667" y="313"/>
                    <a:pt x="667" y="313"/>
                    <a:pt x="667" y="313"/>
                  </a:cubicBezTo>
                  <a:cubicBezTo>
                    <a:pt x="693" y="327"/>
                    <a:pt x="693" y="327"/>
                    <a:pt x="693" y="327"/>
                  </a:cubicBezTo>
                  <a:cubicBezTo>
                    <a:pt x="722" y="327"/>
                    <a:pt x="722" y="327"/>
                    <a:pt x="722" y="327"/>
                  </a:cubicBezTo>
                  <a:cubicBezTo>
                    <a:pt x="741" y="327"/>
                    <a:pt x="741" y="327"/>
                    <a:pt x="741" y="327"/>
                  </a:cubicBezTo>
                  <a:cubicBezTo>
                    <a:pt x="774" y="327"/>
                    <a:pt x="774" y="327"/>
                    <a:pt x="774" y="327"/>
                  </a:cubicBezTo>
                  <a:cubicBezTo>
                    <a:pt x="836" y="306"/>
                    <a:pt x="836" y="306"/>
                    <a:pt x="836" y="306"/>
                  </a:cubicBezTo>
                  <a:cubicBezTo>
                    <a:pt x="858" y="287"/>
                    <a:pt x="858" y="287"/>
                    <a:pt x="858" y="287"/>
                  </a:cubicBezTo>
                  <a:cubicBezTo>
                    <a:pt x="874" y="253"/>
                    <a:pt x="874" y="253"/>
                    <a:pt x="874" y="253"/>
                  </a:cubicBezTo>
                  <a:cubicBezTo>
                    <a:pt x="874" y="198"/>
                    <a:pt x="874" y="198"/>
                    <a:pt x="874" y="198"/>
                  </a:cubicBezTo>
                  <a:cubicBezTo>
                    <a:pt x="896" y="193"/>
                    <a:pt x="896" y="193"/>
                    <a:pt x="896" y="193"/>
                  </a:cubicBezTo>
                  <a:cubicBezTo>
                    <a:pt x="920" y="177"/>
                    <a:pt x="920" y="177"/>
                    <a:pt x="920" y="177"/>
                  </a:cubicBezTo>
                  <a:cubicBezTo>
                    <a:pt x="963" y="139"/>
                    <a:pt x="963" y="139"/>
                    <a:pt x="963" y="139"/>
                  </a:cubicBezTo>
                  <a:cubicBezTo>
                    <a:pt x="1034" y="127"/>
                    <a:pt x="1034" y="127"/>
                    <a:pt x="1034" y="127"/>
                  </a:cubicBezTo>
                  <a:cubicBezTo>
                    <a:pt x="1065" y="93"/>
                    <a:pt x="1065" y="93"/>
                    <a:pt x="1065" y="93"/>
                  </a:cubicBezTo>
                  <a:cubicBezTo>
                    <a:pt x="1092" y="77"/>
                    <a:pt x="1092" y="77"/>
                    <a:pt x="1092" y="77"/>
                  </a:cubicBezTo>
                  <a:cubicBezTo>
                    <a:pt x="1111" y="57"/>
                    <a:pt x="1111" y="57"/>
                    <a:pt x="1111" y="57"/>
                  </a:cubicBezTo>
                  <a:cubicBezTo>
                    <a:pt x="1225" y="65"/>
                    <a:pt x="1225" y="65"/>
                    <a:pt x="1225" y="65"/>
                  </a:cubicBezTo>
                  <a:cubicBezTo>
                    <a:pt x="1239" y="26"/>
                    <a:pt x="1239" y="26"/>
                    <a:pt x="1239" y="26"/>
                  </a:cubicBezTo>
                  <a:cubicBezTo>
                    <a:pt x="1292" y="0"/>
                    <a:pt x="1292" y="0"/>
                    <a:pt x="1292" y="0"/>
                  </a:cubicBezTo>
                  <a:cubicBezTo>
                    <a:pt x="1323" y="26"/>
                    <a:pt x="1323" y="26"/>
                    <a:pt x="1323" y="26"/>
                  </a:cubicBezTo>
                  <a:cubicBezTo>
                    <a:pt x="1335" y="50"/>
                    <a:pt x="1335" y="50"/>
                    <a:pt x="1335" y="50"/>
                  </a:cubicBezTo>
                  <a:cubicBezTo>
                    <a:pt x="1323" y="50"/>
                    <a:pt x="1323" y="50"/>
                    <a:pt x="1323" y="50"/>
                  </a:cubicBezTo>
                  <a:cubicBezTo>
                    <a:pt x="1323" y="67"/>
                    <a:pt x="1323" y="67"/>
                    <a:pt x="1323" y="67"/>
                  </a:cubicBezTo>
                  <a:cubicBezTo>
                    <a:pt x="1342" y="86"/>
                    <a:pt x="1342" y="86"/>
                    <a:pt x="1342" y="86"/>
                  </a:cubicBezTo>
                  <a:cubicBezTo>
                    <a:pt x="1368" y="84"/>
                    <a:pt x="1368" y="84"/>
                    <a:pt x="1368" y="84"/>
                  </a:cubicBezTo>
                  <a:cubicBezTo>
                    <a:pt x="1368" y="65"/>
                    <a:pt x="1368" y="65"/>
                    <a:pt x="1368" y="65"/>
                  </a:cubicBezTo>
                  <a:cubicBezTo>
                    <a:pt x="1383" y="50"/>
                    <a:pt x="1383" y="50"/>
                    <a:pt x="1383" y="50"/>
                  </a:cubicBezTo>
                  <a:cubicBezTo>
                    <a:pt x="1395" y="62"/>
                    <a:pt x="1395" y="62"/>
                    <a:pt x="1395" y="62"/>
                  </a:cubicBezTo>
                  <a:cubicBezTo>
                    <a:pt x="1421" y="93"/>
                    <a:pt x="1421" y="93"/>
                    <a:pt x="1421" y="93"/>
                  </a:cubicBezTo>
                  <a:cubicBezTo>
                    <a:pt x="1457" y="81"/>
                    <a:pt x="1457" y="81"/>
                    <a:pt x="1457" y="81"/>
                  </a:cubicBezTo>
                  <a:cubicBezTo>
                    <a:pt x="1511" y="96"/>
                    <a:pt x="1511" y="96"/>
                    <a:pt x="1511" y="96"/>
                  </a:cubicBezTo>
                  <a:cubicBezTo>
                    <a:pt x="1511" y="120"/>
                    <a:pt x="1511" y="120"/>
                    <a:pt x="1511" y="120"/>
                  </a:cubicBezTo>
                  <a:cubicBezTo>
                    <a:pt x="1528" y="146"/>
                    <a:pt x="1528" y="146"/>
                    <a:pt x="1528" y="146"/>
                  </a:cubicBezTo>
                  <a:cubicBezTo>
                    <a:pt x="1564" y="174"/>
                    <a:pt x="1564" y="174"/>
                    <a:pt x="1564" y="174"/>
                  </a:cubicBezTo>
                  <a:cubicBezTo>
                    <a:pt x="1640" y="174"/>
                    <a:pt x="1640" y="174"/>
                    <a:pt x="1640" y="174"/>
                  </a:cubicBezTo>
                  <a:cubicBezTo>
                    <a:pt x="1657" y="174"/>
                    <a:pt x="1657" y="174"/>
                    <a:pt x="1657" y="174"/>
                  </a:cubicBezTo>
                  <a:cubicBezTo>
                    <a:pt x="1681" y="162"/>
                    <a:pt x="1681" y="162"/>
                    <a:pt x="1681" y="162"/>
                  </a:cubicBezTo>
                  <a:cubicBezTo>
                    <a:pt x="1707" y="162"/>
                    <a:pt x="1707" y="162"/>
                    <a:pt x="1707" y="162"/>
                  </a:cubicBezTo>
                  <a:cubicBezTo>
                    <a:pt x="1741" y="179"/>
                    <a:pt x="1741" y="179"/>
                    <a:pt x="1741" y="179"/>
                  </a:cubicBezTo>
                  <a:cubicBezTo>
                    <a:pt x="1752" y="201"/>
                    <a:pt x="1752" y="201"/>
                    <a:pt x="1752" y="201"/>
                  </a:cubicBezTo>
                  <a:cubicBezTo>
                    <a:pt x="1752" y="220"/>
                    <a:pt x="1752" y="220"/>
                    <a:pt x="1752" y="220"/>
                  </a:cubicBezTo>
                  <a:cubicBezTo>
                    <a:pt x="1752" y="253"/>
                    <a:pt x="1752" y="253"/>
                    <a:pt x="1752" y="253"/>
                  </a:cubicBezTo>
                  <a:cubicBezTo>
                    <a:pt x="1752" y="239"/>
                    <a:pt x="1752" y="239"/>
                    <a:pt x="1752" y="239"/>
                  </a:cubicBezTo>
                  <a:cubicBezTo>
                    <a:pt x="1783" y="213"/>
                    <a:pt x="1783" y="213"/>
                    <a:pt x="1783" y="213"/>
                  </a:cubicBezTo>
                  <a:cubicBezTo>
                    <a:pt x="1824" y="201"/>
                    <a:pt x="1824" y="201"/>
                    <a:pt x="1824" y="201"/>
                  </a:cubicBezTo>
                  <a:cubicBezTo>
                    <a:pt x="1855" y="201"/>
                    <a:pt x="1855" y="201"/>
                    <a:pt x="1855" y="201"/>
                  </a:cubicBezTo>
                  <a:cubicBezTo>
                    <a:pt x="1908" y="222"/>
                    <a:pt x="1908" y="222"/>
                    <a:pt x="1908" y="222"/>
                  </a:cubicBezTo>
                  <a:cubicBezTo>
                    <a:pt x="1958" y="239"/>
                    <a:pt x="1958" y="239"/>
                    <a:pt x="1958" y="239"/>
                  </a:cubicBezTo>
                  <a:cubicBezTo>
                    <a:pt x="2010" y="224"/>
                    <a:pt x="2010" y="224"/>
                    <a:pt x="2010" y="224"/>
                  </a:cubicBezTo>
                  <a:cubicBezTo>
                    <a:pt x="2041" y="201"/>
                    <a:pt x="2041" y="201"/>
                    <a:pt x="2041" y="201"/>
                  </a:cubicBezTo>
                  <a:cubicBezTo>
                    <a:pt x="2070" y="201"/>
                    <a:pt x="2070" y="201"/>
                    <a:pt x="2070" y="201"/>
                  </a:cubicBezTo>
                  <a:cubicBezTo>
                    <a:pt x="2082" y="201"/>
                    <a:pt x="2082" y="201"/>
                    <a:pt x="2082" y="201"/>
                  </a:cubicBezTo>
                  <a:cubicBezTo>
                    <a:pt x="2120" y="236"/>
                    <a:pt x="2120" y="236"/>
                    <a:pt x="2120" y="236"/>
                  </a:cubicBezTo>
                  <a:cubicBezTo>
                    <a:pt x="2153" y="265"/>
                    <a:pt x="2153" y="265"/>
                    <a:pt x="2153" y="265"/>
                  </a:cubicBezTo>
                  <a:cubicBezTo>
                    <a:pt x="2213" y="272"/>
                    <a:pt x="2213" y="272"/>
                    <a:pt x="2213" y="272"/>
                  </a:cubicBezTo>
                  <a:lnTo>
                    <a:pt x="2244" y="511"/>
                  </a:lnTo>
                  <a:close/>
                  <a:moveTo>
                    <a:pt x="1196" y="2590"/>
                  </a:moveTo>
                  <a:cubicBezTo>
                    <a:pt x="1263" y="2590"/>
                    <a:pt x="1263" y="2590"/>
                    <a:pt x="1263" y="2590"/>
                  </a:cubicBezTo>
                  <a:cubicBezTo>
                    <a:pt x="1273" y="2559"/>
                    <a:pt x="1273" y="2559"/>
                    <a:pt x="1273" y="2559"/>
                  </a:cubicBezTo>
                  <a:cubicBezTo>
                    <a:pt x="1273" y="2546"/>
                    <a:pt x="1273" y="2546"/>
                    <a:pt x="1273" y="2546"/>
                  </a:cubicBezTo>
                  <a:cubicBezTo>
                    <a:pt x="1288" y="2519"/>
                    <a:pt x="1288" y="2519"/>
                    <a:pt x="1288" y="2519"/>
                  </a:cubicBezTo>
                  <a:cubicBezTo>
                    <a:pt x="1309" y="2490"/>
                    <a:pt x="1309" y="2490"/>
                    <a:pt x="1309" y="2490"/>
                  </a:cubicBezTo>
                  <a:cubicBezTo>
                    <a:pt x="1319" y="2475"/>
                    <a:pt x="1319" y="2475"/>
                    <a:pt x="1319" y="2475"/>
                  </a:cubicBezTo>
                  <a:cubicBezTo>
                    <a:pt x="1322" y="2469"/>
                    <a:pt x="1322" y="2469"/>
                    <a:pt x="1322" y="2469"/>
                  </a:cubicBezTo>
                  <a:cubicBezTo>
                    <a:pt x="1343" y="2500"/>
                    <a:pt x="1343" y="2500"/>
                    <a:pt x="1343" y="2500"/>
                  </a:cubicBezTo>
                  <a:cubicBezTo>
                    <a:pt x="1364" y="2485"/>
                    <a:pt x="1364" y="2485"/>
                    <a:pt x="1364" y="2485"/>
                  </a:cubicBezTo>
                  <a:cubicBezTo>
                    <a:pt x="1364" y="2475"/>
                    <a:pt x="1364" y="2475"/>
                    <a:pt x="1364" y="2475"/>
                  </a:cubicBezTo>
                  <a:cubicBezTo>
                    <a:pt x="1364" y="2450"/>
                    <a:pt x="1364" y="2450"/>
                    <a:pt x="1364" y="2450"/>
                  </a:cubicBezTo>
                  <a:cubicBezTo>
                    <a:pt x="1381" y="2435"/>
                    <a:pt x="1381" y="2435"/>
                    <a:pt x="1381" y="2435"/>
                  </a:cubicBezTo>
                  <a:cubicBezTo>
                    <a:pt x="1389" y="2435"/>
                    <a:pt x="1389" y="2435"/>
                    <a:pt x="1389" y="2435"/>
                  </a:cubicBezTo>
                  <a:cubicBezTo>
                    <a:pt x="1412" y="2424"/>
                    <a:pt x="1412" y="2424"/>
                    <a:pt x="1412" y="2424"/>
                  </a:cubicBezTo>
                  <a:cubicBezTo>
                    <a:pt x="1425" y="2424"/>
                    <a:pt x="1425" y="2424"/>
                    <a:pt x="1425" y="2424"/>
                  </a:cubicBezTo>
                  <a:cubicBezTo>
                    <a:pt x="1442" y="2412"/>
                    <a:pt x="1442" y="2412"/>
                    <a:pt x="1442" y="2412"/>
                  </a:cubicBezTo>
                  <a:cubicBezTo>
                    <a:pt x="1442" y="2399"/>
                    <a:pt x="1442" y="2399"/>
                    <a:pt x="1442" y="2399"/>
                  </a:cubicBezTo>
                  <a:cubicBezTo>
                    <a:pt x="1416" y="2355"/>
                    <a:pt x="1416" y="2355"/>
                    <a:pt x="1416" y="2355"/>
                  </a:cubicBezTo>
                  <a:cubicBezTo>
                    <a:pt x="1404" y="2355"/>
                    <a:pt x="1404" y="2355"/>
                    <a:pt x="1404" y="2355"/>
                  </a:cubicBezTo>
                  <a:cubicBezTo>
                    <a:pt x="1399" y="2355"/>
                    <a:pt x="1399" y="2355"/>
                    <a:pt x="1399" y="2355"/>
                  </a:cubicBezTo>
                  <a:cubicBezTo>
                    <a:pt x="1399" y="2334"/>
                    <a:pt x="1399" y="2334"/>
                    <a:pt x="1399" y="2334"/>
                  </a:cubicBezTo>
                  <a:cubicBezTo>
                    <a:pt x="1400" y="2324"/>
                    <a:pt x="1400" y="2324"/>
                    <a:pt x="1400" y="2324"/>
                  </a:cubicBezTo>
                  <a:cubicBezTo>
                    <a:pt x="1429" y="2305"/>
                    <a:pt x="1429" y="2305"/>
                    <a:pt x="1429" y="2305"/>
                  </a:cubicBezTo>
                  <a:cubicBezTo>
                    <a:pt x="1442" y="2305"/>
                    <a:pt x="1442" y="2305"/>
                    <a:pt x="1442" y="2305"/>
                  </a:cubicBezTo>
                  <a:cubicBezTo>
                    <a:pt x="1481" y="2296"/>
                    <a:pt x="1481" y="2296"/>
                    <a:pt x="1481" y="2296"/>
                  </a:cubicBezTo>
                  <a:cubicBezTo>
                    <a:pt x="1435" y="2259"/>
                    <a:pt x="1435" y="2259"/>
                    <a:pt x="1435" y="2259"/>
                  </a:cubicBezTo>
                  <a:cubicBezTo>
                    <a:pt x="1408" y="2238"/>
                    <a:pt x="1408" y="2238"/>
                    <a:pt x="1408" y="2238"/>
                  </a:cubicBezTo>
                  <a:cubicBezTo>
                    <a:pt x="1379" y="2259"/>
                    <a:pt x="1379" y="2259"/>
                    <a:pt x="1379" y="2259"/>
                  </a:cubicBezTo>
                  <a:cubicBezTo>
                    <a:pt x="1351" y="2290"/>
                    <a:pt x="1351" y="2290"/>
                    <a:pt x="1351" y="2290"/>
                  </a:cubicBezTo>
                  <a:cubicBezTo>
                    <a:pt x="1353" y="2305"/>
                    <a:pt x="1353" y="2305"/>
                    <a:pt x="1353" y="2305"/>
                  </a:cubicBezTo>
                  <a:cubicBezTo>
                    <a:pt x="1360" y="2326"/>
                    <a:pt x="1360" y="2326"/>
                    <a:pt x="1360" y="2326"/>
                  </a:cubicBezTo>
                  <a:cubicBezTo>
                    <a:pt x="1364" y="2341"/>
                    <a:pt x="1364" y="2341"/>
                    <a:pt x="1364" y="2341"/>
                  </a:cubicBezTo>
                  <a:cubicBezTo>
                    <a:pt x="1364" y="2351"/>
                    <a:pt x="1364" y="2351"/>
                    <a:pt x="1364" y="2351"/>
                  </a:cubicBezTo>
                  <a:cubicBezTo>
                    <a:pt x="1353" y="2362"/>
                    <a:pt x="1353" y="2362"/>
                    <a:pt x="1353" y="2362"/>
                  </a:cubicBezTo>
                  <a:cubicBezTo>
                    <a:pt x="1338" y="2368"/>
                    <a:pt x="1338" y="2368"/>
                    <a:pt x="1338" y="2368"/>
                  </a:cubicBezTo>
                  <a:cubicBezTo>
                    <a:pt x="1313" y="2351"/>
                    <a:pt x="1313" y="2351"/>
                    <a:pt x="1313" y="2351"/>
                  </a:cubicBezTo>
                  <a:cubicBezTo>
                    <a:pt x="1288" y="2357"/>
                    <a:pt x="1288" y="2357"/>
                    <a:pt x="1288" y="2357"/>
                  </a:cubicBezTo>
                  <a:cubicBezTo>
                    <a:pt x="1303" y="2385"/>
                    <a:pt x="1303" y="2385"/>
                    <a:pt x="1303" y="2385"/>
                  </a:cubicBezTo>
                  <a:cubicBezTo>
                    <a:pt x="1309" y="2414"/>
                    <a:pt x="1309" y="2414"/>
                    <a:pt x="1309" y="2414"/>
                  </a:cubicBezTo>
                  <a:cubicBezTo>
                    <a:pt x="1307" y="2445"/>
                    <a:pt x="1307" y="2445"/>
                    <a:pt x="1307" y="2445"/>
                  </a:cubicBezTo>
                  <a:cubicBezTo>
                    <a:pt x="1294" y="2414"/>
                    <a:pt x="1294" y="2414"/>
                    <a:pt x="1294" y="2414"/>
                  </a:cubicBezTo>
                  <a:cubicBezTo>
                    <a:pt x="1273" y="2391"/>
                    <a:pt x="1273" y="2391"/>
                    <a:pt x="1273" y="2391"/>
                  </a:cubicBezTo>
                  <a:cubicBezTo>
                    <a:pt x="1259" y="2385"/>
                    <a:pt x="1259" y="2385"/>
                    <a:pt x="1259" y="2385"/>
                  </a:cubicBezTo>
                  <a:cubicBezTo>
                    <a:pt x="1236" y="2401"/>
                    <a:pt x="1236" y="2401"/>
                    <a:pt x="1236" y="2401"/>
                  </a:cubicBezTo>
                  <a:cubicBezTo>
                    <a:pt x="1232" y="2414"/>
                    <a:pt x="1232" y="2414"/>
                    <a:pt x="1232" y="2414"/>
                  </a:cubicBezTo>
                  <a:cubicBezTo>
                    <a:pt x="1211" y="2431"/>
                    <a:pt x="1211" y="2431"/>
                    <a:pt x="1211" y="2431"/>
                  </a:cubicBezTo>
                  <a:cubicBezTo>
                    <a:pt x="1217" y="2483"/>
                    <a:pt x="1217" y="2483"/>
                    <a:pt x="1217" y="2483"/>
                  </a:cubicBezTo>
                  <a:cubicBezTo>
                    <a:pt x="1225" y="2490"/>
                    <a:pt x="1225" y="2490"/>
                    <a:pt x="1225" y="2490"/>
                  </a:cubicBezTo>
                  <a:cubicBezTo>
                    <a:pt x="1234" y="2500"/>
                    <a:pt x="1234" y="2500"/>
                    <a:pt x="1234" y="2500"/>
                  </a:cubicBezTo>
                  <a:cubicBezTo>
                    <a:pt x="1246" y="2509"/>
                    <a:pt x="1246" y="2509"/>
                    <a:pt x="1246" y="2509"/>
                  </a:cubicBezTo>
                  <a:cubicBezTo>
                    <a:pt x="1259" y="2515"/>
                    <a:pt x="1259" y="2515"/>
                    <a:pt x="1259" y="2515"/>
                  </a:cubicBezTo>
                  <a:cubicBezTo>
                    <a:pt x="1263" y="2536"/>
                    <a:pt x="1263" y="2536"/>
                    <a:pt x="1263" y="2536"/>
                  </a:cubicBezTo>
                  <a:cubicBezTo>
                    <a:pt x="1257" y="2555"/>
                    <a:pt x="1257" y="2555"/>
                    <a:pt x="1257" y="2555"/>
                  </a:cubicBezTo>
                  <a:cubicBezTo>
                    <a:pt x="1248" y="2570"/>
                    <a:pt x="1248" y="2570"/>
                    <a:pt x="1248" y="2570"/>
                  </a:cubicBezTo>
                  <a:lnTo>
                    <a:pt x="1196" y="2590"/>
                  </a:lnTo>
                  <a:close/>
                  <a:moveTo>
                    <a:pt x="172" y="1778"/>
                  </a:moveTo>
                  <a:cubicBezTo>
                    <a:pt x="209" y="1811"/>
                    <a:pt x="209" y="1811"/>
                    <a:pt x="209" y="1811"/>
                  </a:cubicBezTo>
                  <a:cubicBezTo>
                    <a:pt x="245" y="1837"/>
                    <a:pt x="245" y="1837"/>
                    <a:pt x="245" y="1837"/>
                  </a:cubicBezTo>
                  <a:cubicBezTo>
                    <a:pt x="268" y="1837"/>
                    <a:pt x="268" y="1837"/>
                    <a:pt x="268" y="1837"/>
                  </a:cubicBezTo>
                  <a:cubicBezTo>
                    <a:pt x="288" y="1837"/>
                    <a:pt x="288" y="1837"/>
                    <a:pt x="288" y="1837"/>
                  </a:cubicBezTo>
                  <a:cubicBezTo>
                    <a:pt x="301" y="1808"/>
                    <a:pt x="301" y="1808"/>
                    <a:pt x="301" y="1808"/>
                  </a:cubicBezTo>
                  <a:cubicBezTo>
                    <a:pt x="301" y="1791"/>
                    <a:pt x="301" y="1791"/>
                    <a:pt x="301" y="1791"/>
                  </a:cubicBezTo>
                  <a:cubicBezTo>
                    <a:pt x="271" y="1735"/>
                    <a:pt x="271" y="1735"/>
                    <a:pt x="271" y="1735"/>
                  </a:cubicBezTo>
                  <a:cubicBezTo>
                    <a:pt x="258" y="1735"/>
                    <a:pt x="258" y="1735"/>
                    <a:pt x="258" y="1735"/>
                  </a:cubicBezTo>
                  <a:cubicBezTo>
                    <a:pt x="237" y="1751"/>
                    <a:pt x="237" y="1751"/>
                    <a:pt x="237" y="1751"/>
                  </a:cubicBezTo>
                  <a:cubicBezTo>
                    <a:pt x="209" y="1751"/>
                    <a:pt x="209" y="1751"/>
                    <a:pt x="209" y="1751"/>
                  </a:cubicBezTo>
                  <a:lnTo>
                    <a:pt x="172" y="1778"/>
                  </a:lnTo>
                  <a:close/>
                  <a:moveTo>
                    <a:pt x="151" y="1215"/>
                  </a:moveTo>
                  <a:cubicBezTo>
                    <a:pt x="189" y="1215"/>
                    <a:pt x="189" y="1215"/>
                    <a:pt x="189" y="1215"/>
                  </a:cubicBezTo>
                  <a:cubicBezTo>
                    <a:pt x="209" y="1215"/>
                    <a:pt x="209" y="1215"/>
                    <a:pt x="209" y="1215"/>
                  </a:cubicBezTo>
                  <a:cubicBezTo>
                    <a:pt x="180" y="1166"/>
                    <a:pt x="180" y="1166"/>
                    <a:pt x="180" y="1166"/>
                  </a:cubicBezTo>
                  <a:cubicBezTo>
                    <a:pt x="151" y="1139"/>
                    <a:pt x="151" y="1139"/>
                    <a:pt x="151" y="1139"/>
                  </a:cubicBezTo>
                  <a:cubicBezTo>
                    <a:pt x="132" y="1123"/>
                    <a:pt x="132" y="1123"/>
                    <a:pt x="132" y="1123"/>
                  </a:cubicBezTo>
                  <a:cubicBezTo>
                    <a:pt x="132" y="1103"/>
                    <a:pt x="132" y="1103"/>
                    <a:pt x="132" y="1103"/>
                  </a:cubicBezTo>
                  <a:cubicBezTo>
                    <a:pt x="117" y="1091"/>
                    <a:pt x="117" y="1091"/>
                    <a:pt x="117" y="1091"/>
                  </a:cubicBezTo>
                  <a:cubicBezTo>
                    <a:pt x="79" y="1091"/>
                    <a:pt x="79" y="1091"/>
                    <a:pt x="79" y="1091"/>
                  </a:cubicBezTo>
                  <a:cubicBezTo>
                    <a:pt x="42" y="1079"/>
                    <a:pt x="42" y="1079"/>
                    <a:pt x="42" y="1079"/>
                  </a:cubicBezTo>
                  <a:cubicBezTo>
                    <a:pt x="31" y="1065"/>
                    <a:pt x="31" y="1065"/>
                    <a:pt x="31" y="1065"/>
                  </a:cubicBezTo>
                  <a:cubicBezTo>
                    <a:pt x="23" y="1040"/>
                    <a:pt x="23" y="1040"/>
                    <a:pt x="23" y="1040"/>
                  </a:cubicBezTo>
                  <a:cubicBezTo>
                    <a:pt x="3" y="1067"/>
                    <a:pt x="3" y="1067"/>
                    <a:pt x="3" y="1067"/>
                  </a:cubicBezTo>
                  <a:cubicBezTo>
                    <a:pt x="3" y="1067"/>
                    <a:pt x="1" y="1088"/>
                    <a:pt x="3" y="1091"/>
                  </a:cubicBezTo>
                  <a:cubicBezTo>
                    <a:pt x="6" y="1094"/>
                    <a:pt x="9" y="1107"/>
                    <a:pt x="10" y="1110"/>
                  </a:cubicBezTo>
                  <a:cubicBezTo>
                    <a:pt x="12" y="1114"/>
                    <a:pt x="13" y="1116"/>
                    <a:pt x="15" y="1120"/>
                  </a:cubicBezTo>
                  <a:cubicBezTo>
                    <a:pt x="16" y="1124"/>
                    <a:pt x="16" y="1124"/>
                    <a:pt x="16" y="1124"/>
                  </a:cubicBezTo>
                  <a:cubicBezTo>
                    <a:pt x="16" y="1124"/>
                    <a:pt x="0" y="1126"/>
                    <a:pt x="23" y="1128"/>
                  </a:cubicBezTo>
                  <a:cubicBezTo>
                    <a:pt x="46" y="1130"/>
                    <a:pt x="46" y="1130"/>
                    <a:pt x="46" y="1130"/>
                  </a:cubicBezTo>
                  <a:cubicBezTo>
                    <a:pt x="46" y="1130"/>
                    <a:pt x="46" y="1126"/>
                    <a:pt x="50" y="1128"/>
                  </a:cubicBezTo>
                  <a:cubicBezTo>
                    <a:pt x="54" y="1130"/>
                    <a:pt x="69" y="1133"/>
                    <a:pt x="69" y="1133"/>
                  </a:cubicBezTo>
                  <a:cubicBezTo>
                    <a:pt x="76" y="1133"/>
                    <a:pt x="76" y="1133"/>
                    <a:pt x="76" y="1133"/>
                  </a:cubicBezTo>
                  <a:cubicBezTo>
                    <a:pt x="81" y="1133"/>
                    <a:pt x="81" y="1133"/>
                    <a:pt x="81" y="1133"/>
                  </a:cubicBezTo>
                  <a:cubicBezTo>
                    <a:pt x="92" y="1143"/>
                    <a:pt x="92" y="1143"/>
                    <a:pt x="92" y="1143"/>
                  </a:cubicBezTo>
                  <a:cubicBezTo>
                    <a:pt x="100" y="1157"/>
                    <a:pt x="100" y="1157"/>
                    <a:pt x="100" y="1157"/>
                  </a:cubicBezTo>
                  <a:cubicBezTo>
                    <a:pt x="112" y="1200"/>
                    <a:pt x="112" y="1200"/>
                    <a:pt x="112" y="1200"/>
                  </a:cubicBezTo>
                  <a:cubicBezTo>
                    <a:pt x="140" y="1229"/>
                    <a:pt x="140" y="1229"/>
                    <a:pt x="140" y="1229"/>
                  </a:cubicBezTo>
                  <a:lnTo>
                    <a:pt x="151" y="1215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56">
              <a:extLst>
                <a:ext uri="{FF2B5EF4-FFF2-40B4-BE49-F238E27FC236}">
                  <a16:creationId xmlns:a16="http://schemas.microsoft.com/office/drawing/2014/main" id="{EC7CF332-1FF2-E7D5-B839-969FF86CE0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91550" y="9926149"/>
              <a:ext cx="1561813" cy="993508"/>
            </a:xfrm>
            <a:custGeom>
              <a:avLst/>
              <a:gdLst>
                <a:gd name="T0" fmla="*/ 281 w 2189"/>
                <a:gd name="T1" fmla="*/ 0 h 1388"/>
                <a:gd name="T2" fmla="*/ 390 w 2189"/>
                <a:gd name="T3" fmla="*/ 0 h 1388"/>
                <a:gd name="T4" fmla="*/ 418 w 2189"/>
                <a:gd name="T5" fmla="*/ 82 h 1388"/>
                <a:gd name="T6" fmla="*/ 385 w 2189"/>
                <a:gd name="T7" fmla="*/ 135 h 1388"/>
                <a:gd name="T8" fmla="*/ 326 w 2189"/>
                <a:gd name="T9" fmla="*/ 135 h 1388"/>
                <a:gd name="T10" fmla="*/ 239 w 2189"/>
                <a:gd name="T11" fmla="*/ 82 h 1388"/>
                <a:gd name="T12" fmla="*/ 36 w 2189"/>
                <a:gd name="T13" fmla="*/ 155 h 1388"/>
                <a:gd name="T14" fmla="*/ 67 w 2189"/>
                <a:gd name="T15" fmla="*/ 96 h 1388"/>
                <a:gd name="T16" fmla="*/ 0 w 2189"/>
                <a:gd name="T17" fmla="*/ 135 h 1388"/>
                <a:gd name="T18" fmla="*/ 36 w 2189"/>
                <a:gd name="T19" fmla="*/ 180 h 1388"/>
                <a:gd name="T20" fmla="*/ 834 w 2189"/>
                <a:gd name="T21" fmla="*/ 351 h 1388"/>
                <a:gd name="T22" fmla="*/ 906 w 2189"/>
                <a:gd name="T23" fmla="*/ 377 h 1388"/>
                <a:gd name="T24" fmla="*/ 989 w 2189"/>
                <a:gd name="T25" fmla="*/ 402 h 1388"/>
                <a:gd name="T26" fmla="*/ 1017 w 2189"/>
                <a:gd name="T27" fmla="*/ 346 h 1388"/>
                <a:gd name="T28" fmla="*/ 952 w 2189"/>
                <a:gd name="T29" fmla="*/ 267 h 1388"/>
                <a:gd name="T30" fmla="*/ 905 w 2189"/>
                <a:gd name="T31" fmla="*/ 236 h 1388"/>
                <a:gd name="T32" fmla="*/ 843 w 2189"/>
                <a:gd name="T33" fmla="*/ 267 h 1388"/>
                <a:gd name="T34" fmla="*/ 795 w 2189"/>
                <a:gd name="T35" fmla="*/ 301 h 1388"/>
                <a:gd name="T36" fmla="*/ 1281 w 2189"/>
                <a:gd name="T37" fmla="*/ 489 h 1388"/>
                <a:gd name="T38" fmla="*/ 1334 w 2189"/>
                <a:gd name="T39" fmla="*/ 489 h 1388"/>
                <a:gd name="T40" fmla="*/ 1368 w 2189"/>
                <a:gd name="T41" fmla="*/ 496 h 1388"/>
                <a:gd name="T42" fmla="*/ 1304 w 2189"/>
                <a:gd name="T43" fmla="*/ 438 h 1388"/>
                <a:gd name="T44" fmla="*/ 1202 w 2189"/>
                <a:gd name="T45" fmla="*/ 438 h 1388"/>
                <a:gd name="T46" fmla="*/ 1202 w 2189"/>
                <a:gd name="T47" fmla="*/ 483 h 1388"/>
                <a:gd name="T48" fmla="*/ 1357 w 2189"/>
                <a:gd name="T49" fmla="*/ 607 h 1388"/>
                <a:gd name="T50" fmla="*/ 1329 w 2189"/>
                <a:gd name="T51" fmla="*/ 542 h 1388"/>
                <a:gd name="T52" fmla="*/ 1287 w 2189"/>
                <a:gd name="T53" fmla="*/ 554 h 1388"/>
                <a:gd name="T54" fmla="*/ 1306 w 2189"/>
                <a:gd name="T55" fmla="*/ 613 h 1388"/>
                <a:gd name="T56" fmla="*/ 1559 w 2189"/>
                <a:gd name="T57" fmla="*/ 683 h 1388"/>
                <a:gd name="T58" fmla="*/ 1646 w 2189"/>
                <a:gd name="T59" fmla="*/ 672 h 1388"/>
                <a:gd name="T60" fmla="*/ 1697 w 2189"/>
                <a:gd name="T61" fmla="*/ 601 h 1388"/>
                <a:gd name="T62" fmla="*/ 1576 w 2189"/>
                <a:gd name="T63" fmla="*/ 542 h 1388"/>
                <a:gd name="T64" fmla="*/ 1509 w 2189"/>
                <a:gd name="T65" fmla="*/ 542 h 1388"/>
                <a:gd name="T66" fmla="*/ 1436 w 2189"/>
                <a:gd name="T67" fmla="*/ 503 h 1388"/>
                <a:gd name="T68" fmla="*/ 1436 w 2189"/>
                <a:gd name="T69" fmla="*/ 562 h 1388"/>
                <a:gd name="T70" fmla="*/ 1514 w 2189"/>
                <a:gd name="T71" fmla="*/ 593 h 1388"/>
                <a:gd name="T72" fmla="*/ 1526 w 2189"/>
                <a:gd name="T73" fmla="*/ 683 h 1388"/>
                <a:gd name="T74" fmla="*/ 1728 w 2189"/>
                <a:gd name="T75" fmla="*/ 984 h 1388"/>
                <a:gd name="T76" fmla="*/ 1674 w 2189"/>
                <a:gd name="T77" fmla="*/ 1031 h 1388"/>
                <a:gd name="T78" fmla="*/ 1728 w 2189"/>
                <a:gd name="T79" fmla="*/ 1127 h 1388"/>
                <a:gd name="T80" fmla="*/ 1728 w 2189"/>
                <a:gd name="T81" fmla="*/ 1225 h 1388"/>
                <a:gd name="T82" fmla="*/ 1728 w 2189"/>
                <a:gd name="T83" fmla="*/ 1290 h 1388"/>
                <a:gd name="T84" fmla="*/ 1804 w 2189"/>
                <a:gd name="T85" fmla="*/ 1354 h 1388"/>
                <a:gd name="T86" fmla="*/ 1857 w 2189"/>
                <a:gd name="T87" fmla="*/ 1374 h 1388"/>
                <a:gd name="T88" fmla="*/ 1896 w 2189"/>
                <a:gd name="T89" fmla="*/ 1279 h 1388"/>
                <a:gd name="T90" fmla="*/ 2045 w 2189"/>
                <a:gd name="T91" fmla="*/ 1256 h 1388"/>
                <a:gd name="T92" fmla="*/ 2149 w 2189"/>
                <a:gd name="T93" fmla="*/ 1166 h 1388"/>
                <a:gd name="T94" fmla="*/ 2121 w 2189"/>
                <a:gd name="T95" fmla="*/ 1088 h 1388"/>
                <a:gd name="T96" fmla="*/ 2088 w 2189"/>
                <a:gd name="T97" fmla="*/ 1051 h 1388"/>
                <a:gd name="T98" fmla="*/ 2054 w 2189"/>
                <a:gd name="T99" fmla="*/ 961 h 1388"/>
                <a:gd name="T100" fmla="*/ 1911 w 2189"/>
                <a:gd name="T101" fmla="*/ 894 h 1388"/>
                <a:gd name="T102" fmla="*/ 1829 w 2189"/>
                <a:gd name="T103" fmla="*/ 857 h 1388"/>
                <a:gd name="T104" fmla="*/ 1745 w 2189"/>
                <a:gd name="T105" fmla="*/ 829 h 1388"/>
                <a:gd name="T106" fmla="*/ 1759 w 2189"/>
                <a:gd name="T107" fmla="*/ 922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89" h="1388">
                  <a:moveTo>
                    <a:pt x="239" y="37"/>
                  </a:moveTo>
                  <a:cubicBezTo>
                    <a:pt x="239" y="20"/>
                    <a:pt x="239" y="20"/>
                    <a:pt x="239" y="2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90" y="0"/>
                    <a:pt x="390" y="0"/>
                    <a:pt x="390" y="0"/>
                  </a:cubicBezTo>
                  <a:cubicBezTo>
                    <a:pt x="418" y="42"/>
                    <a:pt x="418" y="42"/>
                    <a:pt x="418" y="42"/>
                  </a:cubicBezTo>
                  <a:cubicBezTo>
                    <a:pt x="418" y="53"/>
                    <a:pt x="418" y="53"/>
                    <a:pt x="418" y="53"/>
                  </a:cubicBezTo>
                  <a:cubicBezTo>
                    <a:pt x="418" y="82"/>
                    <a:pt x="418" y="82"/>
                    <a:pt x="418" y="82"/>
                  </a:cubicBezTo>
                  <a:cubicBezTo>
                    <a:pt x="402" y="96"/>
                    <a:pt x="402" y="96"/>
                    <a:pt x="402" y="96"/>
                  </a:cubicBezTo>
                  <a:cubicBezTo>
                    <a:pt x="402" y="108"/>
                    <a:pt x="402" y="108"/>
                    <a:pt x="402" y="108"/>
                  </a:cubicBezTo>
                  <a:cubicBezTo>
                    <a:pt x="385" y="135"/>
                    <a:pt x="385" y="135"/>
                    <a:pt x="385" y="135"/>
                  </a:cubicBezTo>
                  <a:cubicBezTo>
                    <a:pt x="362" y="135"/>
                    <a:pt x="362" y="135"/>
                    <a:pt x="362" y="135"/>
                  </a:cubicBezTo>
                  <a:cubicBezTo>
                    <a:pt x="343" y="135"/>
                    <a:pt x="343" y="135"/>
                    <a:pt x="343" y="135"/>
                  </a:cubicBezTo>
                  <a:cubicBezTo>
                    <a:pt x="326" y="135"/>
                    <a:pt x="326" y="135"/>
                    <a:pt x="326" y="135"/>
                  </a:cubicBezTo>
                  <a:cubicBezTo>
                    <a:pt x="289" y="107"/>
                    <a:pt x="289" y="107"/>
                    <a:pt x="289" y="107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39" y="82"/>
                    <a:pt x="239" y="82"/>
                    <a:pt x="239" y="82"/>
                  </a:cubicBezTo>
                  <a:lnTo>
                    <a:pt x="239" y="37"/>
                  </a:lnTo>
                  <a:close/>
                  <a:moveTo>
                    <a:pt x="36" y="180"/>
                  </a:moveTo>
                  <a:cubicBezTo>
                    <a:pt x="36" y="155"/>
                    <a:pt x="36" y="155"/>
                    <a:pt x="36" y="155"/>
                  </a:cubicBezTo>
                  <a:cubicBezTo>
                    <a:pt x="50" y="135"/>
                    <a:pt x="50" y="135"/>
                    <a:pt x="50" y="135"/>
                  </a:cubicBezTo>
                  <a:cubicBezTo>
                    <a:pt x="67" y="118"/>
                    <a:pt x="67" y="118"/>
                    <a:pt x="67" y="118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36" y="98"/>
                    <a:pt x="36" y="98"/>
                    <a:pt x="36" y="98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71"/>
                    <a:pt x="0" y="171"/>
                    <a:pt x="0" y="171"/>
                  </a:cubicBezTo>
                  <a:lnTo>
                    <a:pt x="36" y="180"/>
                  </a:lnTo>
                  <a:close/>
                  <a:moveTo>
                    <a:pt x="795" y="301"/>
                  </a:moveTo>
                  <a:cubicBezTo>
                    <a:pt x="795" y="319"/>
                    <a:pt x="795" y="319"/>
                    <a:pt x="795" y="319"/>
                  </a:cubicBezTo>
                  <a:cubicBezTo>
                    <a:pt x="834" y="351"/>
                    <a:pt x="834" y="351"/>
                    <a:pt x="834" y="351"/>
                  </a:cubicBezTo>
                  <a:cubicBezTo>
                    <a:pt x="851" y="368"/>
                    <a:pt x="851" y="368"/>
                    <a:pt x="851" y="368"/>
                  </a:cubicBezTo>
                  <a:cubicBezTo>
                    <a:pt x="879" y="391"/>
                    <a:pt x="879" y="391"/>
                    <a:pt x="879" y="391"/>
                  </a:cubicBezTo>
                  <a:cubicBezTo>
                    <a:pt x="906" y="377"/>
                    <a:pt x="906" y="377"/>
                    <a:pt x="906" y="377"/>
                  </a:cubicBezTo>
                  <a:cubicBezTo>
                    <a:pt x="947" y="360"/>
                    <a:pt x="947" y="360"/>
                    <a:pt x="947" y="360"/>
                  </a:cubicBezTo>
                  <a:cubicBezTo>
                    <a:pt x="966" y="377"/>
                    <a:pt x="966" y="377"/>
                    <a:pt x="966" y="377"/>
                  </a:cubicBezTo>
                  <a:cubicBezTo>
                    <a:pt x="989" y="402"/>
                    <a:pt x="989" y="402"/>
                    <a:pt x="989" y="402"/>
                  </a:cubicBezTo>
                  <a:cubicBezTo>
                    <a:pt x="1017" y="402"/>
                    <a:pt x="1017" y="402"/>
                    <a:pt x="1017" y="402"/>
                  </a:cubicBezTo>
                  <a:cubicBezTo>
                    <a:pt x="1017" y="379"/>
                    <a:pt x="1017" y="379"/>
                    <a:pt x="1017" y="379"/>
                  </a:cubicBezTo>
                  <a:cubicBezTo>
                    <a:pt x="1017" y="346"/>
                    <a:pt x="1017" y="346"/>
                    <a:pt x="1017" y="346"/>
                  </a:cubicBezTo>
                  <a:cubicBezTo>
                    <a:pt x="997" y="303"/>
                    <a:pt x="997" y="303"/>
                    <a:pt x="997" y="303"/>
                  </a:cubicBezTo>
                  <a:cubicBezTo>
                    <a:pt x="972" y="303"/>
                    <a:pt x="972" y="303"/>
                    <a:pt x="972" y="303"/>
                  </a:cubicBezTo>
                  <a:cubicBezTo>
                    <a:pt x="952" y="267"/>
                    <a:pt x="952" y="267"/>
                    <a:pt x="952" y="267"/>
                  </a:cubicBezTo>
                  <a:cubicBezTo>
                    <a:pt x="938" y="252"/>
                    <a:pt x="938" y="252"/>
                    <a:pt x="938" y="252"/>
                  </a:cubicBezTo>
                  <a:cubicBezTo>
                    <a:pt x="921" y="236"/>
                    <a:pt x="921" y="236"/>
                    <a:pt x="921" y="236"/>
                  </a:cubicBezTo>
                  <a:cubicBezTo>
                    <a:pt x="905" y="236"/>
                    <a:pt x="905" y="236"/>
                    <a:pt x="905" y="236"/>
                  </a:cubicBezTo>
                  <a:cubicBezTo>
                    <a:pt x="876" y="236"/>
                    <a:pt x="876" y="236"/>
                    <a:pt x="876" y="236"/>
                  </a:cubicBezTo>
                  <a:cubicBezTo>
                    <a:pt x="843" y="250"/>
                    <a:pt x="843" y="250"/>
                    <a:pt x="843" y="250"/>
                  </a:cubicBezTo>
                  <a:cubicBezTo>
                    <a:pt x="843" y="267"/>
                    <a:pt x="843" y="267"/>
                    <a:pt x="843" y="267"/>
                  </a:cubicBezTo>
                  <a:cubicBezTo>
                    <a:pt x="820" y="267"/>
                    <a:pt x="820" y="267"/>
                    <a:pt x="820" y="267"/>
                  </a:cubicBezTo>
                  <a:cubicBezTo>
                    <a:pt x="795" y="267"/>
                    <a:pt x="795" y="267"/>
                    <a:pt x="795" y="267"/>
                  </a:cubicBezTo>
                  <a:lnTo>
                    <a:pt x="795" y="301"/>
                  </a:lnTo>
                  <a:close/>
                  <a:moveTo>
                    <a:pt x="1236" y="489"/>
                  </a:moveTo>
                  <a:cubicBezTo>
                    <a:pt x="1256" y="489"/>
                    <a:pt x="1256" y="489"/>
                    <a:pt x="1256" y="489"/>
                  </a:cubicBezTo>
                  <a:cubicBezTo>
                    <a:pt x="1281" y="489"/>
                    <a:pt x="1281" y="489"/>
                    <a:pt x="1281" y="489"/>
                  </a:cubicBezTo>
                  <a:cubicBezTo>
                    <a:pt x="1295" y="489"/>
                    <a:pt x="1295" y="489"/>
                    <a:pt x="1295" y="489"/>
                  </a:cubicBezTo>
                  <a:cubicBezTo>
                    <a:pt x="1318" y="489"/>
                    <a:pt x="1318" y="489"/>
                    <a:pt x="1318" y="489"/>
                  </a:cubicBezTo>
                  <a:cubicBezTo>
                    <a:pt x="1334" y="489"/>
                    <a:pt x="1334" y="489"/>
                    <a:pt x="1334" y="489"/>
                  </a:cubicBezTo>
                  <a:cubicBezTo>
                    <a:pt x="1351" y="489"/>
                    <a:pt x="1351" y="489"/>
                    <a:pt x="1351" y="489"/>
                  </a:cubicBezTo>
                  <a:cubicBezTo>
                    <a:pt x="1351" y="503"/>
                    <a:pt x="1351" y="503"/>
                    <a:pt x="1351" y="503"/>
                  </a:cubicBezTo>
                  <a:cubicBezTo>
                    <a:pt x="1368" y="496"/>
                    <a:pt x="1368" y="496"/>
                    <a:pt x="1368" y="496"/>
                  </a:cubicBezTo>
                  <a:cubicBezTo>
                    <a:pt x="1410" y="469"/>
                    <a:pt x="1410" y="469"/>
                    <a:pt x="1410" y="469"/>
                  </a:cubicBezTo>
                  <a:cubicBezTo>
                    <a:pt x="1323" y="469"/>
                    <a:pt x="1323" y="469"/>
                    <a:pt x="1323" y="469"/>
                  </a:cubicBezTo>
                  <a:cubicBezTo>
                    <a:pt x="1304" y="438"/>
                    <a:pt x="1304" y="438"/>
                    <a:pt x="1304" y="438"/>
                  </a:cubicBezTo>
                  <a:cubicBezTo>
                    <a:pt x="1273" y="438"/>
                    <a:pt x="1273" y="438"/>
                    <a:pt x="1273" y="438"/>
                  </a:cubicBezTo>
                  <a:cubicBezTo>
                    <a:pt x="1214" y="438"/>
                    <a:pt x="1214" y="438"/>
                    <a:pt x="1214" y="438"/>
                  </a:cubicBezTo>
                  <a:cubicBezTo>
                    <a:pt x="1202" y="438"/>
                    <a:pt x="1202" y="438"/>
                    <a:pt x="1202" y="438"/>
                  </a:cubicBezTo>
                  <a:cubicBezTo>
                    <a:pt x="1202" y="455"/>
                    <a:pt x="1202" y="455"/>
                    <a:pt x="1202" y="455"/>
                  </a:cubicBezTo>
                  <a:cubicBezTo>
                    <a:pt x="1202" y="471"/>
                    <a:pt x="1202" y="471"/>
                    <a:pt x="1202" y="471"/>
                  </a:cubicBezTo>
                  <a:cubicBezTo>
                    <a:pt x="1202" y="483"/>
                    <a:pt x="1202" y="483"/>
                    <a:pt x="1202" y="483"/>
                  </a:cubicBezTo>
                  <a:lnTo>
                    <a:pt x="1236" y="489"/>
                  </a:lnTo>
                  <a:close/>
                  <a:moveTo>
                    <a:pt x="1329" y="627"/>
                  </a:moveTo>
                  <a:cubicBezTo>
                    <a:pt x="1357" y="607"/>
                    <a:pt x="1357" y="607"/>
                    <a:pt x="1357" y="607"/>
                  </a:cubicBezTo>
                  <a:cubicBezTo>
                    <a:pt x="1357" y="587"/>
                    <a:pt x="1357" y="587"/>
                    <a:pt x="1357" y="587"/>
                  </a:cubicBezTo>
                  <a:cubicBezTo>
                    <a:pt x="1343" y="565"/>
                    <a:pt x="1343" y="565"/>
                    <a:pt x="1343" y="565"/>
                  </a:cubicBezTo>
                  <a:cubicBezTo>
                    <a:pt x="1329" y="542"/>
                    <a:pt x="1329" y="542"/>
                    <a:pt x="1329" y="542"/>
                  </a:cubicBezTo>
                  <a:cubicBezTo>
                    <a:pt x="1306" y="542"/>
                    <a:pt x="1306" y="542"/>
                    <a:pt x="1306" y="542"/>
                  </a:cubicBezTo>
                  <a:cubicBezTo>
                    <a:pt x="1287" y="542"/>
                    <a:pt x="1287" y="542"/>
                    <a:pt x="1287" y="542"/>
                  </a:cubicBezTo>
                  <a:cubicBezTo>
                    <a:pt x="1287" y="554"/>
                    <a:pt x="1287" y="554"/>
                    <a:pt x="1287" y="554"/>
                  </a:cubicBezTo>
                  <a:cubicBezTo>
                    <a:pt x="1287" y="568"/>
                    <a:pt x="1287" y="568"/>
                    <a:pt x="1287" y="568"/>
                  </a:cubicBezTo>
                  <a:cubicBezTo>
                    <a:pt x="1306" y="585"/>
                    <a:pt x="1306" y="585"/>
                    <a:pt x="1306" y="585"/>
                  </a:cubicBezTo>
                  <a:cubicBezTo>
                    <a:pt x="1306" y="613"/>
                    <a:pt x="1306" y="613"/>
                    <a:pt x="1306" y="613"/>
                  </a:cubicBezTo>
                  <a:lnTo>
                    <a:pt x="1329" y="627"/>
                  </a:lnTo>
                  <a:close/>
                  <a:moveTo>
                    <a:pt x="1537" y="683"/>
                  </a:moveTo>
                  <a:cubicBezTo>
                    <a:pt x="1559" y="683"/>
                    <a:pt x="1559" y="683"/>
                    <a:pt x="1559" y="683"/>
                  </a:cubicBezTo>
                  <a:cubicBezTo>
                    <a:pt x="1618" y="683"/>
                    <a:pt x="1618" y="683"/>
                    <a:pt x="1618" y="683"/>
                  </a:cubicBezTo>
                  <a:cubicBezTo>
                    <a:pt x="1618" y="672"/>
                    <a:pt x="1618" y="672"/>
                    <a:pt x="1618" y="672"/>
                  </a:cubicBezTo>
                  <a:cubicBezTo>
                    <a:pt x="1646" y="672"/>
                    <a:pt x="1646" y="672"/>
                    <a:pt x="1646" y="672"/>
                  </a:cubicBezTo>
                  <a:cubicBezTo>
                    <a:pt x="1669" y="672"/>
                    <a:pt x="1669" y="672"/>
                    <a:pt x="1669" y="672"/>
                  </a:cubicBezTo>
                  <a:cubicBezTo>
                    <a:pt x="1697" y="644"/>
                    <a:pt x="1697" y="644"/>
                    <a:pt x="1697" y="644"/>
                  </a:cubicBezTo>
                  <a:cubicBezTo>
                    <a:pt x="1697" y="601"/>
                    <a:pt x="1697" y="601"/>
                    <a:pt x="1697" y="601"/>
                  </a:cubicBezTo>
                  <a:cubicBezTo>
                    <a:pt x="1638" y="568"/>
                    <a:pt x="1638" y="568"/>
                    <a:pt x="1638" y="568"/>
                  </a:cubicBezTo>
                  <a:cubicBezTo>
                    <a:pt x="1601" y="542"/>
                    <a:pt x="1601" y="542"/>
                    <a:pt x="1601" y="542"/>
                  </a:cubicBezTo>
                  <a:cubicBezTo>
                    <a:pt x="1576" y="542"/>
                    <a:pt x="1576" y="542"/>
                    <a:pt x="1576" y="542"/>
                  </a:cubicBezTo>
                  <a:cubicBezTo>
                    <a:pt x="1537" y="542"/>
                    <a:pt x="1537" y="542"/>
                    <a:pt x="1537" y="542"/>
                  </a:cubicBezTo>
                  <a:cubicBezTo>
                    <a:pt x="1537" y="554"/>
                    <a:pt x="1537" y="554"/>
                    <a:pt x="1537" y="554"/>
                  </a:cubicBezTo>
                  <a:cubicBezTo>
                    <a:pt x="1509" y="542"/>
                    <a:pt x="1509" y="542"/>
                    <a:pt x="1509" y="542"/>
                  </a:cubicBezTo>
                  <a:cubicBezTo>
                    <a:pt x="1489" y="528"/>
                    <a:pt x="1489" y="528"/>
                    <a:pt x="1489" y="528"/>
                  </a:cubicBezTo>
                  <a:cubicBezTo>
                    <a:pt x="1464" y="503"/>
                    <a:pt x="1464" y="503"/>
                    <a:pt x="1464" y="503"/>
                  </a:cubicBezTo>
                  <a:cubicBezTo>
                    <a:pt x="1436" y="503"/>
                    <a:pt x="1436" y="503"/>
                    <a:pt x="1436" y="503"/>
                  </a:cubicBezTo>
                  <a:cubicBezTo>
                    <a:pt x="1436" y="523"/>
                    <a:pt x="1436" y="523"/>
                    <a:pt x="1436" y="523"/>
                  </a:cubicBezTo>
                  <a:cubicBezTo>
                    <a:pt x="1436" y="542"/>
                    <a:pt x="1436" y="542"/>
                    <a:pt x="1436" y="542"/>
                  </a:cubicBezTo>
                  <a:cubicBezTo>
                    <a:pt x="1436" y="562"/>
                    <a:pt x="1436" y="562"/>
                    <a:pt x="1436" y="562"/>
                  </a:cubicBezTo>
                  <a:cubicBezTo>
                    <a:pt x="1436" y="585"/>
                    <a:pt x="1436" y="585"/>
                    <a:pt x="1436" y="585"/>
                  </a:cubicBezTo>
                  <a:cubicBezTo>
                    <a:pt x="1469" y="593"/>
                    <a:pt x="1469" y="593"/>
                    <a:pt x="1469" y="593"/>
                  </a:cubicBezTo>
                  <a:cubicBezTo>
                    <a:pt x="1514" y="593"/>
                    <a:pt x="1514" y="593"/>
                    <a:pt x="1514" y="593"/>
                  </a:cubicBezTo>
                  <a:cubicBezTo>
                    <a:pt x="1509" y="627"/>
                    <a:pt x="1509" y="627"/>
                    <a:pt x="1509" y="627"/>
                  </a:cubicBezTo>
                  <a:cubicBezTo>
                    <a:pt x="1512" y="663"/>
                    <a:pt x="1512" y="663"/>
                    <a:pt x="1512" y="663"/>
                  </a:cubicBezTo>
                  <a:cubicBezTo>
                    <a:pt x="1526" y="683"/>
                    <a:pt x="1526" y="683"/>
                    <a:pt x="1526" y="683"/>
                  </a:cubicBezTo>
                  <a:lnTo>
                    <a:pt x="1537" y="683"/>
                  </a:lnTo>
                  <a:close/>
                  <a:moveTo>
                    <a:pt x="1759" y="961"/>
                  </a:moveTo>
                  <a:cubicBezTo>
                    <a:pt x="1728" y="984"/>
                    <a:pt x="1728" y="984"/>
                    <a:pt x="1728" y="984"/>
                  </a:cubicBezTo>
                  <a:cubicBezTo>
                    <a:pt x="1697" y="995"/>
                    <a:pt x="1697" y="995"/>
                    <a:pt x="1697" y="995"/>
                  </a:cubicBezTo>
                  <a:cubicBezTo>
                    <a:pt x="1674" y="1017"/>
                    <a:pt x="1674" y="1017"/>
                    <a:pt x="1674" y="1017"/>
                  </a:cubicBezTo>
                  <a:cubicBezTo>
                    <a:pt x="1674" y="1031"/>
                    <a:pt x="1674" y="1031"/>
                    <a:pt x="1674" y="1031"/>
                  </a:cubicBezTo>
                  <a:cubicBezTo>
                    <a:pt x="1674" y="1057"/>
                    <a:pt x="1674" y="1057"/>
                    <a:pt x="1674" y="1057"/>
                  </a:cubicBezTo>
                  <a:cubicBezTo>
                    <a:pt x="1697" y="1073"/>
                    <a:pt x="1697" y="1073"/>
                    <a:pt x="1697" y="1073"/>
                  </a:cubicBezTo>
                  <a:cubicBezTo>
                    <a:pt x="1728" y="1127"/>
                    <a:pt x="1728" y="1127"/>
                    <a:pt x="1728" y="1127"/>
                  </a:cubicBezTo>
                  <a:cubicBezTo>
                    <a:pt x="1728" y="1158"/>
                    <a:pt x="1728" y="1158"/>
                    <a:pt x="1728" y="1158"/>
                  </a:cubicBezTo>
                  <a:cubicBezTo>
                    <a:pt x="1728" y="1172"/>
                    <a:pt x="1728" y="1172"/>
                    <a:pt x="1728" y="1172"/>
                  </a:cubicBezTo>
                  <a:cubicBezTo>
                    <a:pt x="1728" y="1225"/>
                    <a:pt x="1728" y="1225"/>
                    <a:pt x="1728" y="1225"/>
                  </a:cubicBezTo>
                  <a:cubicBezTo>
                    <a:pt x="1728" y="1245"/>
                    <a:pt x="1728" y="1245"/>
                    <a:pt x="1728" y="1245"/>
                  </a:cubicBezTo>
                  <a:cubicBezTo>
                    <a:pt x="1728" y="1270"/>
                    <a:pt x="1728" y="1270"/>
                    <a:pt x="1728" y="1270"/>
                  </a:cubicBezTo>
                  <a:cubicBezTo>
                    <a:pt x="1728" y="1290"/>
                    <a:pt x="1728" y="1290"/>
                    <a:pt x="1728" y="1290"/>
                  </a:cubicBezTo>
                  <a:cubicBezTo>
                    <a:pt x="1728" y="1307"/>
                    <a:pt x="1728" y="1307"/>
                    <a:pt x="1728" y="1307"/>
                  </a:cubicBezTo>
                  <a:cubicBezTo>
                    <a:pt x="1756" y="1329"/>
                    <a:pt x="1756" y="1329"/>
                    <a:pt x="1756" y="1329"/>
                  </a:cubicBezTo>
                  <a:cubicBezTo>
                    <a:pt x="1804" y="1354"/>
                    <a:pt x="1804" y="1354"/>
                    <a:pt x="1804" y="1354"/>
                  </a:cubicBezTo>
                  <a:cubicBezTo>
                    <a:pt x="1823" y="1388"/>
                    <a:pt x="1823" y="1388"/>
                    <a:pt x="1823" y="1388"/>
                  </a:cubicBezTo>
                  <a:cubicBezTo>
                    <a:pt x="1846" y="1388"/>
                    <a:pt x="1846" y="1388"/>
                    <a:pt x="1846" y="1388"/>
                  </a:cubicBezTo>
                  <a:cubicBezTo>
                    <a:pt x="1857" y="1374"/>
                    <a:pt x="1857" y="1374"/>
                    <a:pt x="1857" y="1374"/>
                  </a:cubicBezTo>
                  <a:cubicBezTo>
                    <a:pt x="1871" y="1357"/>
                    <a:pt x="1871" y="1357"/>
                    <a:pt x="1871" y="1357"/>
                  </a:cubicBezTo>
                  <a:cubicBezTo>
                    <a:pt x="1880" y="1326"/>
                    <a:pt x="1880" y="1326"/>
                    <a:pt x="1880" y="1326"/>
                  </a:cubicBezTo>
                  <a:cubicBezTo>
                    <a:pt x="1896" y="1279"/>
                    <a:pt x="1896" y="1279"/>
                    <a:pt x="1896" y="1279"/>
                  </a:cubicBezTo>
                  <a:cubicBezTo>
                    <a:pt x="1950" y="1279"/>
                    <a:pt x="1950" y="1279"/>
                    <a:pt x="1950" y="1279"/>
                  </a:cubicBezTo>
                  <a:cubicBezTo>
                    <a:pt x="1967" y="1256"/>
                    <a:pt x="1967" y="1256"/>
                    <a:pt x="1967" y="1256"/>
                  </a:cubicBezTo>
                  <a:cubicBezTo>
                    <a:pt x="2045" y="1256"/>
                    <a:pt x="2045" y="1256"/>
                    <a:pt x="2045" y="1256"/>
                  </a:cubicBezTo>
                  <a:cubicBezTo>
                    <a:pt x="2088" y="1239"/>
                    <a:pt x="2088" y="1239"/>
                    <a:pt x="2088" y="1239"/>
                  </a:cubicBezTo>
                  <a:cubicBezTo>
                    <a:pt x="2124" y="1183"/>
                    <a:pt x="2124" y="1183"/>
                    <a:pt x="2124" y="1183"/>
                  </a:cubicBezTo>
                  <a:cubicBezTo>
                    <a:pt x="2149" y="1166"/>
                    <a:pt x="2149" y="1166"/>
                    <a:pt x="2149" y="1166"/>
                  </a:cubicBezTo>
                  <a:cubicBezTo>
                    <a:pt x="2189" y="1116"/>
                    <a:pt x="2189" y="1116"/>
                    <a:pt x="2189" y="1116"/>
                  </a:cubicBezTo>
                  <a:cubicBezTo>
                    <a:pt x="2149" y="1116"/>
                    <a:pt x="2149" y="1116"/>
                    <a:pt x="2149" y="1116"/>
                  </a:cubicBezTo>
                  <a:cubicBezTo>
                    <a:pt x="2121" y="1088"/>
                    <a:pt x="2121" y="1088"/>
                    <a:pt x="2121" y="1088"/>
                  </a:cubicBezTo>
                  <a:cubicBezTo>
                    <a:pt x="2102" y="1088"/>
                    <a:pt x="2102" y="1088"/>
                    <a:pt x="2102" y="1088"/>
                  </a:cubicBezTo>
                  <a:cubicBezTo>
                    <a:pt x="2102" y="1051"/>
                    <a:pt x="2102" y="1051"/>
                    <a:pt x="2102" y="1051"/>
                  </a:cubicBezTo>
                  <a:cubicBezTo>
                    <a:pt x="2088" y="1051"/>
                    <a:pt x="2088" y="1051"/>
                    <a:pt x="2088" y="1051"/>
                  </a:cubicBezTo>
                  <a:cubicBezTo>
                    <a:pt x="2068" y="1051"/>
                    <a:pt x="2068" y="1051"/>
                    <a:pt x="2068" y="1051"/>
                  </a:cubicBezTo>
                  <a:cubicBezTo>
                    <a:pt x="2054" y="989"/>
                    <a:pt x="2054" y="989"/>
                    <a:pt x="2054" y="989"/>
                  </a:cubicBezTo>
                  <a:cubicBezTo>
                    <a:pt x="2054" y="961"/>
                    <a:pt x="2054" y="961"/>
                    <a:pt x="2054" y="961"/>
                  </a:cubicBezTo>
                  <a:cubicBezTo>
                    <a:pt x="2015" y="922"/>
                    <a:pt x="2015" y="922"/>
                    <a:pt x="2015" y="922"/>
                  </a:cubicBezTo>
                  <a:cubicBezTo>
                    <a:pt x="1947" y="894"/>
                    <a:pt x="1947" y="894"/>
                    <a:pt x="1947" y="894"/>
                  </a:cubicBezTo>
                  <a:cubicBezTo>
                    <a:pt x="1947" y="894"/>
                    <a:pt x="1919" y="894"/>
                    <a:pt x="1911" y="894"/>
                  </a:cubicBezTo>
                  <a:cubicBezTo>
                    <a:pt x="1902" y="894"/>
                    <a:pt x="1896" y="894"/>
                    <a:pt x="1888" y="894"/>
                  </a:cubicBezTo>
                  <a:cubicBezTo>
                    <a:pt x="1880" y="894"/>
                    <a:pt x="1863" y="891"/>
                    <a:pt x="1863" y="891"/>
                  </a:cubicBezTo>
                  <a:cubicBezTo>
                    <a:pt x="1829" y="857"/>
                    <a:pt x="1829" y="857"/>
                    <a:pt x="1829" y="857"/>
                  </a:cubicBezTo>
                  <a:cubicBezTo>
                    <a:pt x="1787" y="829"/>
                    <a:pt x="1787" y="829"/>
                    <a:pt x="1787" y="829"/>
                  </a:cubicBezTo>
                  <a:cubicBezTo>
                    <a:pt x="1759" y="829"/>
                    <a:pt x="1759" y="829"/>
                    <a:pt x="1759" y="829"/>
                  </a:cubicBezTo>
                  <a:cubicBezTo>
                    <a:pt x="1745" y="829"/>
                    <a:pt x="1745" y="829"/>
                    <a:pt x="1745" y="829"/>
                  </a:cubicBezTo>
                  <a:cubicBezTo>
                    <a:pt x="1745" y="846"/>
                    <a:pt x="1745" y="846"/>
                    <a:pt x="1745" y="846"/>
                  </a:cubicBezTo>
                  <a:cubicBezTo>
                    <a:pt x="1745" y="863"/>
                    <a:pt x="1745" y="863"/>
                    <a:pt x="1745" y="863"/>
                  </a:cubicBezTo>
                  <a:cubicBezTo>
                    <a:pt x="1759" y="922"/>
                    <a:pt x="1759" y="922"/>
                    <a:pt x="1759" y="922"/>
                  </a:cubicBezTo>
                  <a:lnTo>
                    <a:pt x="1759" y="961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6DD6B08-7063-463D-9FA5-38C4F21191FD}"/>
              </a:ext>
            </a:extLst>
          </p:cNvPr>
          <p:cNvSpPr/>
          <p:nvPr/>
        </p:nvSpPr>
        <p:spPr>
          <a:xfrm>
            <a:off x="6905886" y="3793592"/>
            <a:ext cx="114300" cy="13642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Title 4">
            <a:extLst>
              <a:ext uri="{FF2B5EF4-FFF2-40B4-BE49-F238E27FC236}">
                <a16:creationId xmlns:a16="http://schemas.microsoft.com/office/drawing/2014/main" id="{A3187659-5CE9-58F6-FCA2-EC0593AB2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250"/>
            <a:ext cx="11353800" cy="387350"/>
          </a:xfrm>
        </p:spPr>
        <p:txBody>
          <a:bodyPr/>
          <a:lstStyle/>
          <a:p>
            <a:r>
              <a:rPr lang="en-US" dirty="0"/>
              <a:t>Economic analysis: REGIONAL ANALYSIS</a:t>
            </a:r>
          </a:p>
        </p:txBody>
      </p:sp>
      <p:graphicFrame>
        <p:nvGraphicFramePr>
          <p:cNvPr id="132" name="Table 131">
            <a:extLst>
              <a:ext uri="{FF2B5EF4-FFF2-40B4-BE49-F238E27FC236}">
                <a16:creationId xmlns:a16="http://schemas.microsoft.com/office/drawing/2014/main" id="{F05FE4A7-2EF2-2F5D-AC24-A42FFEE8D6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5858457"/>
              </p:ext>
            </p:extLst>
          </p:nvPr>
        </p:nvGraphicFramePr>
        <p:xfrm>
          <a:off x="8330828" y="1580493"/>
          <a:ext cx="3751476" cy="4184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7869">
                  <a:extLst>
                    <a:ext uri="{9D8B030D-6E8A-4147-A177-3AD203B41FA5}">
                      <a16:colId xmlns:a16="http://schemas.microsoft.com/office/drawing/2014/main" val="1289750580"/>
                    </a:ext>
                  </a:extLst>
                </a:gridCol>
                <a:gridCol w="937869">
                  <a:extLst>
                    <a:ext uri="{9D8B030D-6E8A-4147-A177-3AD203B41FA5}">
                      <a16:colId xmlns:a16="http://schemas.microsoft.com/office/drawing/2014/main" val="1778587434"/>
                    </a:ext>
                  </a:extLst>
                </a:gridCol>
                <a:gridCol w="937869">
                  <a:extLst>
                    <a:ext uri="{9D8B030D-6E8A-4147-A177-3AD203B41FA5}">
                      <a16:colId xmlns:a16="http://schemas.microsoft.com/office/drawing/2014/main" val="746743858"/>
                    </a:ext>
                  </a:extLst>
                </a:gridCol>
                <a:gridCol w="937869">
                  <a:extLst>
                    <a:ext uri="{9D8B030D-6E8A-4147-A177-3AD203B41FA5}">
                      <a16:colId xmlns:a16="http://schemas.microsoft.com/office/drawing/2014/main" val="3691493924"/>
                    </a:ext>
                  </a:extLst>
                </a:gridCol>
              </a:tblGrid>
              <a:tr h="523038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S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UT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IMPLE PAYBAC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9783041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JM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SE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3976465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8013592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E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4.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418655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SO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WCM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0448026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YIS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SEGL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5066441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AIS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G&amp;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.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0141016"/>
                  </a:ext>
                </a:extLst>
              </a:tr>
              <a:tr h="523038"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RC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NC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8.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2366335"/>
                  </a:ext>
                </a:extLst>
              </a:tr>
            </a:tbl>
          </a:graphicData>
        </a:graphic>
      </p:graphicFrame>
      <p:pic>
        <p:nvPicPr>
          <p:cNvPr id="133" name="Graphic 132" descr="Marker with solid fill">
            <a:extLst>
              <a:ext uri="{FF2B5EF4-FFF2-40B4-BE49-F238E27FC236}">
                <a16:creationId xmlns:a16="http://schemas.microsoft.com/office/drawing/2014/main" id="{AABA8EE1-833E-A7CA-9DB5-B183396198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00047" y="2159972"/>
            <a:ext cx="433925" cy="433925"/>
          </a:xfrm>
          <a:prstGeom prst="rect">
            <a:avLst/>
          </a:prstGeom>
        </p:spPr>
      </p:pic>
      <p:pic>
        <p:nvPicPr>
          <p:cNvPr id="135" name="Graphic 134" descr="Marker with solid fill">
            <a:extLst>
              <a:ext uri="{FF2B5EF4-FFF2-40B4-BE49-F238E27FC236}">
                <a16:creationId xmlns:a16="http://schemas.microsoft.com/office/drawing/2014/main" id="{0F84F1B1-6CEB-7AE2-A07A-EF6DDCE598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00048" y="2680977"/>
            <a:ext cx="433925" cy="433925"/>
          </a:xfrm>
          <a:prstGeom prst="rect">
            <a:avLst/>
          </a:prstGeom>
        </p:spPr>
      </p:pic>
      <p:pic>
        <p:nvPicPr>
          <p:cNvPr id="136" name="Graphic 135" descr="Marker with solid fill">
            <a:extLst>
              <a:ext uri="{FF2B5EF4-FFF2-40B4-BE49-F238E27FC236}">
                <a16:creationId xmlns:a16="http://schemas.microsoft.com/office/drawing/2014/main" id="{7918AE84-43E4-4CC5-E4FF-BBF55943F3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01112" y="3192580"/>
            <a:ext cx="433925" cy="433925"/>
          </a:xfrm>
          <a:prstGeom prst="rect">
            <a:avLst/>
          </a:prstGeom>
        </p:spPr>
      </p:pic>
      <p:pic>
        <p:nvPicPr>
          <p:cNvPr id="137" name="Graphic 136" descr="Marker with solid fill">
            <a:extLst>
              <a:ext uri="{FF2B5EF4-FFF2-40B4-BE49-F238E27FC236}">
                <a16:creationId xmlns:a16="http://schemas.microsoft.com/office/drawing/2014/main" id="{8C27E09D-9797-8941-2335-2E41276384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00048" y="3692702"/>
            <a:ext cx="433925" cy="433925"/>
          </a:xfrm>
          <a:prstGeom prst="rect">
            <a:avLst/>
          </a:prstGeom>
        </p:spPr>
      </p:pic>
      <p:pic>
        <p:nvPicPr>
          <p:cNvPr id="138" name="Graphic 137" descr="Marker with solid fill">
            <a:extLst>
              <a:ext uri="{FF2B5EF4-FFF2-40B4-BE49-F238E27FC236}">
                <a16:creationId xmlns:a16="http://schemas.microsoft.com/office/drawing/2014/main" id="{AA18AACA-B047-0FFD-1909-3E059138A4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600047" y="4234590"/>
            <a:ext cx="433925" cy="433925"/>
          </a:xfrm>
          <a:prstGeom prst="rect">
            <a:avLst/>
          </a:prstGeom>
        </p:spPr>
      </p:pic>
      <p:pic>
        <p:nvPicPr>
          <p:cNvPr id="139" name="Graphic 138" descr="Marker with solid fill">
            <a:extLst>
              <a:ext uri="{FF2B5EF4-FFF2-40B4-BE49-F238E27FC236}">
                <a16:creationId xmlns:a16="http://schemas.microsoft.com/office/drawing/2014/main" id="{6A326CF8-8196-8C07-ADAE-E36B90EE44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00047" y="4782730"/>
            <a:ext cx="433925" cy="433925"/>
          </a:xfrm>
          <a:prstGeom prst="rect">
            <a:avLst/>
          </a:prstGeom>
        </p:spPr>
      </p:pic>
      <p:pic>
        <p:nvPicPr>
          <p:cNvPr id="140" name="Graphic 139" descr="Marker with solid fill">
            <a:extLst>
              <a:ext uri="{FF2B5EF4-FFF2-40B4-BE49-F238E27FC236}">
                <a16:creationId xmlns:a16="http://schemas.microsoft.com/office/drawing/2014/main" id="{C8C89E13-FA4E-EB5E-047C-DFBB7D4C2D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01111" y="5295445"/>
            <a:ext cx="433925" cy="433925"/>
          </a:xfrm>
          <a:prstGeom prst="rect">
            <a:avLst/>
          </a:prstGeom>
        </p:spPr>
      </p:pic>
      <p:pic>
        <p:nvPicPr>
          <p:cNvPr id="141" name="Graphic 140" descr="Marker with solid fill">
            <a:extLst>
              <a:ext uri="{FF2B5EF4-FFF2-40B4-BE49-F238E27FC236}">
                <a16:creationId xmlns:a16="http://schemas.microsoft.com/office/drawing/2014/main" id="{D88011D3-C626-476C-4B0F-7E5B7EF175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99106" y="2536613"/>
            <a:ext cx="433925" cy="433925"/>
          </a:xfrm>
          <a:prstGeom prst="rect">
            <a:avLst/>
          </a:prstGeom>
        </p:spPr>
      </p:pic>
      <p:pic>
        <p:nvPicPr>
          <p:cNvPr id="142" name="Graphic 141" descr="Marker with solid fill">
            <a:extLst>
              <a:ext uri="{FF2B5EF4-FFF2-40B4-BE49-F238E27FC236}">
                <a16:creationId xmlns:a16="http://schemas.microsoft.com/office/drawing/2014/main" id="{F4264F3C-7E04-C03F-5743-A86C3E7AFE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9946" y="2627380"/>
            <a:ext cx="433925" cy="433925"/>
          </a:xfrm>
          <a:prstGeom prst="rect">
            <a:avLst/>
          </a:prstGeom>
        </p:spPr>
      </p:pic>
      <p:pic>
        <p:nvPicPr>
          <p:cNvPr id="143" name="Graphic 142" descr="Marker with solid fill">
            <a:extLst>
              <a:ext uri="{FF2B5EF4-FFF2-40B4-BE49-F238E27FC236}">
                <a16:creationId xmlns:a16="http://schemas.microsoft.com/office/drawing/2014/main" id="{BB8CC060-97E2-B9BC-4D75-C550FD8413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3320" y="3032053"/>
            <a:ext cx="433925" cy="433925"/>
          </a:xfrm>
          <a:prstGeom prst="rect">
            <a:avLst/>
          </a:prstGeom>
        </p:spPr>
      </p:pic>
      <p:pic>
        <p:nvPicPr>
          <p:cNvPr id="144" name="Graphic 143" descr="Marker with solid fill">
            <a:extLst>
              <a:ext uri="{FF2B5EF4-FFF2-40B4-BE49-F238E27FC236}">
                <a16:creationId xmlns:a16="http://schemas.microsoft.com/office/drawing/2014/main" id="{04D6F306-1956-6BFF-EDDD-5E8822A070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28988" y="2178796"/>
            <a:ext cx="433925" cy="433925"/>
          </a:xfrm>
          <a:prstGeom prst="rect">
            <a:avLst/>
          </a:prstGeom>
        </p:spPr>
      </p:pic>
      <p:pic>
        <p:nvPicPr>
          <p:cNvPr id="145" name="Graphic 144" descr="Marker with solid fill">
            <a:extLst>
              <a:ext uri="{FF2B5EF4-FFF2-40B4-BE49-F238E27FC236}">
                <a16:creationId xmlns:a16="http://schemas.microsoft.com/office/drawing/2014/main" id="{5CBEBACC-85D3-517C-8359-DE5EFF4908F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354751" y="2460407"/>
            <a:ext cx="433925" cy="433925"/>
          </a:xfrm>
          <a:prstGeom prst="rect">
            <a:avLst/>
          </a:prstGeom>
        </p:spPr>
      </p:pic>
      <p:pic>
        <p:nvPicPr>
          <p:cNvPr id="146" name="Graphic 145" descr="Marker with solid fill">
            <a:extLst>
              <a:ext uri="{FF2B5EF4-FFF2-40B4-BE49-F238E27FC236}">
                <a16:creationId xmlns:a16="http://schemas.microsoft.com/office/drawing/2014/main" id="{3B931CB6-40B3-8969-405A-96E650BCC2F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97844" y="3455832"/>
            <a:ext cx="433925" cy="433925"/>
          </a:xfrm>
          <a:prstGeom prst="rect">
            <a:avLst/>
          </a:prstGeom>
        </p:spPr>
      </p:pic>
      <p:pic>
        <p:nvPicPr>
          <p:cNvPr id="148" name="Graphic 147" descr="Marker with solid fill">
            <a:extLst>
              <a:ext uri="{FF2B5EF4-FFF2-40B4-BE49-F238E27FC236}">
                <a16:creationId xmlns:a16="http://schemas.microsoft.com/office/drawing/2014/main" id="{F8391312-093C-5A9A-CB4D-AEC4BD8ECC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215023" y="4921301"/>
            <a:ext cx="433925" cy="43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8378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35AA30-A3B9-5D26-7272-73C9FD8347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125068-91A0-6B4A-F17B-4109B4A519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125068-91A0-6B4A-F17B-4109B4A51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40AC2258-422C-93CB-969D-83F76F133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Questions + concluding remarks</a:t>
            </a:r>
          </a:p>
        </p:txBody>
      </p:sp>
    </p:spTree>
    <p:extLst>
      <p:ext uri="{BB962C8B-B14F-4D97-AF65-F5344CB8AC3E}">
        <p14:creationId xmlns:p14="http://schemas.microsoft.com/office/powerpoint/2010/main" val="4063934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9B3FA-40E9-C595-2E21-01BC4EAE5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</a:t>
            </a:r>
            <a:br>
              <a:rPr lang="en-US" dirty="0"/>
            </a:br>
            <a:r>
              <a:rPr lang="en-US" dirty="0"/>
              <a:t>Now?</a:t>
            </a:r>
          </a:p>
        </p:txBody>
      </p:sp>
    </p:spTree>
    <p:extLst>
      <p:ext uri="{BB962C8B-B14F-4D97-AF65-F5344CB8AC3E}">
        <p14:creationId xmlns:p14="http://schemas.microsoft.com/office/powerpoint/2010/main" val="3918529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aph showing the price of electricity&#10;&#10;Description automatically generated">
            <a:extLst>
              <a:ext uri="{FF2B5EF4-FFF2-40B4-BE49-F238E27FC236}">
                <a16:creationId xmlns:a16="http://schemas.microsoft.com/office/drawing/2014/main" id="{64AE035F-0F33-487A-75B1-8E3B50859A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289" y="1330833"/>
            <a:ext cx="7048551" cy="46964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913E28D-F083-4756-3648-99235C48F5F3}"/>
              </a:ext>
            </a:extLst>
          </p:cNvPr>
          <p:cNvSpPr txBox="1"/>
          <p:nvPr/>
        </p:nvSpPr>
        <p:spPr>
          <a:xfrm>
            <a:off x="507254" y="1396893"/>
            <a:ext cx="22359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3.6% Annual electricity inflation over the past </a:t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20 yea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C8EF0-0E08-560F-8636-51F5BEE18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OW?</a:t>
            </a:r>
          </a:p>
        </p:txBody>
      </p:sp>
    </p:spTree>
    <p:extLst>
      <p:ext uri="{BB962C8B-B14F-4D97-AF65-F5344CB8AC3E}">
        <p14:creationId xmlns:p14="http://schemas.microsoft.com/office/powerpoint/2010/main" val="1526837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E34575-2812-654F-9D08-6B8C5CF566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231" y="1546123"/>
            <a:ext cx="7306324" cy="438379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23A341-6266-9CC2-2CE1-9A0004F58DAD}"/>
              </a:ext>
            </a:extLst>
          </p:cNvPr>
          <p:cNvSpPr txBox="1"/>
          <p:nvPr/>
        </p:nvSpPr>
        <p:spPr>
          <a:xfrm>
            <a:off x="764832" y="1493485"/>
            <a:ext cx="19397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50% decrease in hardware cost over past 5 year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FEE11B0-B21A-B24A-B4DD-788BDB3976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OW?</a:t>
            </a:r>
          </a:p>
        </p:txBody>
      </p:sp>
    </p:spTree>
    <p:extLst>
      <p:ext uri="{BB962C8B-B14F-4D97-AF65-F5344CB8AC3E}">
        <p14:creationId xmlns:p14="http://schemas.microsoft.com/office/powerpoint/2010/main" val="2837854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044D5CF-3FB0-A8EE-EF1E-D3A73DFCDB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648" y="1302293"/>
            <a:ext cx="8464866" cy="485017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131B731-FB95-AA19-683F-6415F4200699}"/>
              </a:ext>
            </a:extLst>
          </p:cNvPr>
          <p:cNvSpPr/>
          <p:nvPr/>
        </p:nvSpPr>
        <p:spPr>
          <a:xfrm>
            <a:off x="5449356" y="4109602"/>
            <a:ext cx="1007465" cy="1437829"/>
          </a:xfrm>
          <a:prstGeom prst="rect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DBBDE5-BAB1-6041-972D-85AD63617005}"/>
              </a:ext>
            </a:extLst>
          </p:cNvPr>
          <p:cNvSpPr txBox="1"/>
          <p:nvPr/>
        </p:nvSpPr>
        <p:spPr>
          <a:xfrm>
            <a:off x="733011" y="1225019"/>
            <a:ext cx="17204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Increasing electricity pricing plus falling battery prices results in deployment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b="1" dirty="0">
                <a:solidFill>
                  <a:schemeClr val="accent1"/>
                </a:solidFill>
              </a:rPr>
              <a:t>3x increase </a:t>
            </a:r>
            <a:r>
              <a:rPr lang="en-US" sz="1400" dirty="0">
                <a:solidFill>
                  <a:schemeClr val="accent1"/>
                </a:solidFill>
              </a:rPr>
              <a:t>in battery deployment in a single yea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2D2F720-2AE4-7CC0-2539-A2D374BB1A21}"/>
              </a:ext>
            </a:extLst>
          </p:cNvPr>
          <p:cNvCxnSpPr>
            <a:cxnSpLocks/>
          </p:cNvCxnSpPr>
          <p:nvPr/>
        </p:nvCxnSpPr>
        <p:spPr>
          <a:xfrm>
            <a:off x="2453427" y="2923504"/>
            <a:ext cx="2983051" cy="1611693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C7E06EB-7A79-2904-6B78-35EA24DB7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OW?</a:t>
            </a:r>
          </a:p>
        </p:txBody>
      </p:sp>
    </p:spTree>
    <p:extLst>
      <p:ext uri="{BB962C8B-B14F-4D97-AF65-F5344CB8AC3E}">
        <p14:creationId xmlns:p14="http://schemas.microsoft.com/office/powerpoint/2010/main" val="32729511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B3EE3-4E01-5C09-D488-89E3AE6BF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TECHNOLOGIES</a:t>
            </a:r>
          </a:p>
        </p:txBody>
      </p:sp>
    </p:spTree>
    <p:extLst>
      <p:ext uri="{BB962C8B-B14F-4D97-AF65-F5344CB8AC3E}">
        <p14:creationId xmlns:p14="http://schemas.microsoft.com/office/powerpoint/2010/main" val="1262153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A7BD76-E814-320D-59A5-AD55DF8BA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0380" y="1262997"/>
            <a:ext cx="6809886" cy="475010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6CC883-44A0-65ED-3333-FB795DF119C5}"/>
              </a:ext>
            </a:extLst>
          </p:cNvPr>
          <p:cNvSpPr txBox="1"/>
          <p:nvPr/>
        </p:nvSpPr>
        <p:spPr>
          <a:xfrm>
            <a:off x="964454" y="1446549"/>
            <a:ext cx="226243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Bernhard has selected two types of batteries for projects since 2022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Lithium-Ion batteries are less expensive, and the costs are decreasing quickly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Flow batteries are more suited for long duration stor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08CDB9-9637-DC14-B797-BB1B26677F2C}"/>
              </a:ext>
            </a:extLst>
          </p:cNvPr>
          <p:cNvSpPr/>
          <p:nvPr/>
        </p:nvSpPr>
        <p:spPr>
          <a:xfrm>
            <a:off x="3620381" y="3264795"/>
            <a:ext cx="983816" cy="1379444"/>
          </a:xfrm>
          <a:prstGeom prst="rect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F051BC-3200-01BA-2DC9-0FFE2BAFED26}"/>
              </a:ext>
            </a:extLst>
          </p:cNvPr>
          <p:cNvSpPr/>
          <p:nvPr/>
        </p:nvSpPr>
        <p:spPr>
          <a:xfrm>
            <a:off x="8190963" y="2975020"/>
            <a:ext cx="790653" cy="1749171"/>
          </a:xfrm>
          <a:prstGeom prst="rect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E72ED0E-5F31-02A9-B4AA-4C0ABE9B6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060"/>
            <a:ext cx="11353800" cy="387798"/>
          </a:xfrm>
        </p:spPr>
        <p:txBody>
          <a:bodyPr/>
          <a:lstStyle/>
          <a:p>
            <a:r>
              <a:rPr lang="en-US" dirty="0"/>
              <a:t>Market Overview + Economics</a:t>
            </a:r>
          </a:p>
        </p:txBody>
      </p:sp>
    </p:spTree>
    <p:extLst>
      <p:ext uri="{BB962C8B-B14F-4D97-AF65-F5344CB8AC3E}">
        <p14:creationId xmlns:p14="http://schemas.microsoft.com/office/powerpoint/2010/main" val="4789679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E72ED0E-5F31-02A9-B4AA-4C0ABE9B6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49060"/>
            <a:ext cx="11353800" cy="387798"/>
          </a:xfrm>
        </p:spPr>
        <p:txBody>
          <a:bodyPr/>
          <a:lstStyle/>
          <a:p>
            <a:r>
              <a:rPr lang="en-US" dirty="0"/>
              <a:t>COMMERCIAL TECHNOLOGIES</a:t>
            </a: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BC3F7777-E362-2BF6-0F64-E52BB6AE4120}"/>
              </a:ext>
            </a:extLst>
          </p:cNvPr>
          <p:cNvSpPr txBox="1"/>
          <p:nvPr/>
        </p:nvSpPr>
        <p:spPr>
          <a:xfrm>
            <a:off x="341969" y="1026701"/>
            <a:ext cx="486065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1"/>
                </a:solidFill>
              </a:rPr>
              <a:t>Lithium Iron Phosphate (LFP)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Most common stationary storage chemistry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Ideally suited for 2 to 4-hour duration systems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Life expectancy of 10 to 15 years 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5,000 to 10,000 cycles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Depth of Discharge (DOD) greatly impacts life expectancy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Potential for thermal runaway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Small footprint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$250 - $300 / kWh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BC3F7777-E362-2BF6-0F64-E52BB6AE4120}"/>
              </a:ext>
            </a:extLst>
          </p:cNvPr>
          <p:cNvSpPr txBox="1"/>
          <p:nvPr/>
        </p:nvSpPr>
        <p:spPr>
          <a:xfrm>
            <a:off x="5710343" y="1029671"/>
            <a:ext cx="504280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1"/>
                </a:solidFill>
              </a:rPr>
              <a:t>Vanadium Redox Flow Battery (VRFB)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Stores energy in liquid vanadium electrolyte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Suited for 6+ hours of duration; Add duration by adding tanks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Life expectancy of 20 - 25 years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10,000-20,000 cycles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Depth of Discharge (DOD) does not affect life expectancy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Non-flammable chemistry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Large footprint</a:t>
            </a:r>
          </a:p>
          <a:p>
            <a:endParaRPr lang="en-US" sz="1400" dirty="0">
              <a:solidFill>
                <a:schemeClr val="accent1"/>
              </a:solidFill>
            </a:endParaRPr>
          </a:p>
          <a:p>
            <a:r>
              <a:rPr lang="en-US" sz="1400" dirty="0">
                <a:solidFill>
                  <a:schemeClr val="accent1"/>
                </a:solidFill>
              </a:rPr>
              <a:t>$500 - $600 / kWh; Electrolyte retains valu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855426-6213-BEE1-6976-0960A8E85E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t="30678" r="33794" b="21341"/>
          <a:stretch/>
        </p:blipFill>
        <p:spPr>
          <a:xfrm>
            <a:off x="521265" y="4569101"/>
            <a:ext cx="4276339" cy="20913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6E8977-DA13-20C7-6E86-973D439C38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142" b="5652"/>
          <a:stretch/>
        </p:blipFill>
        <p:spPr>
          <a:xfrm>
            <a:off x="6096000" y="4566131"/>
            <a:ext cx="4276339" cy="2091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96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rnhard Template">
  <a:themeElements>
    <a:clrScheme name="Bernhard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216397"/>
      </a:accent1>
      <a:accent2>
        <a:srgbClr val="1E5732"/>
      </a:accent2>
      <a:accent3>
        <a:srgbClr val="545454"/>
      </a:accent3>
      <a:accent4>
        <a:srgbClr val="109BC5"/>
      </a:accent4>
      <a:accent5>
        <a:srgbClr val="7AC143"/>
      </a:accent5>
      <a:accent6>
        <a:srgbClr val="B1B3B3"/>
      </a:accent6>
      <a:hlink>
        <a:srgbClr val="216397"/>
      </a:hlink>
      <a:folHlink>
        <a:srgbClr val="1E5732"/>
      </a:folHlink>
    </a:clrScheme>
    <a:fontScheme name="Bernhard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e1b60d9-4076-4a39-8b67-fb984b9f6a4e">
      <Terms xmlns="http://schemas.microsoft.com/office/infopath/2007/PartnerControls"/>
    </lcf76f155ced4ddcb4097134ff3c332f>
    <TaxCatchAll xmlns="3e8ec4c4-74bb-4aac-93d5-4008084c05a8" xsi:nil="true"/>
    <Team xmlns="2e1b60d9-4076-4a39-8b67-fb984b9f6a4e" xsi:nil="true"/>
    <Topic xmlns="2e1b60d9-4076-4a39-8b67-fb984b9f6a4e">
      <UserInfo>
        <DisplayName/>
        <AccountId xsi:nil="true"/>
        <AccountType/>
      </UserInfo>
    </Topic>
    <TrainingTopic xmlns="2e1b60d9-4076-4a39-8b67-fb984b9f6a4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4C14092A83C64D913A8E90ADE4500B" ma:contentTypeVersion="18" ma:contentTypeDescription="Create a new document." ma:contentTypeScope="" ma:versionID="0bdbaeb280101ae7c8002dd524724aea">
  <xsd:schema xmlns:xsd="http://www.w3.org/2001/XMLSchema" xmlns:xs="http://www.w3.org/2001/XMLSchema" xmlns:p="http://schemas.microsoft.com/office/2006/metadata/properties" xmlns:ns2="2e1b60d9-4076-4a39-8b67-fb984b9f6a4e" xmlns:ns3="3e8ec4c4-74bb-4aac-93d5-4008084c05a8" targetNamespace="http://schemas.microsoft.com/office/2006/metadata/properties" ma:root="true" ma:fieldsID="bc393ea4f5cf4838fcc24563cefd9b5c" ns2:_="" ns3:_="">
    <xsd:import namespace="2e1b60d9-4076-4a39-8b67-fb984b9f6a4e"/>
    <xsd:import namespace="3e8ec4c4-74bb-4aac-93d5-4008084c05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Team" minOccurs="0"/>
                <xsd:element ref="ns2:Topic" minOccurs="0"/>
                <xsd:element ref="ns2:TrainingTopic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b60d9-4076-4a39-8b67-fb984b9f6a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2cac75f-c143-48db-bb11-fc28865f84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Team" ma:index="20" nillable="true" ma:displayName="Team" ma:format="Dropdown" ma:internalName="Team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eveloper"/>
                    <xsd:enumeration value="Financial Modeling"/>
                    <xsd:enumeration value="Energy Analytics"/>
                    <xsd:enumeration value="Pre-Engineering"/>
                    <xsd:enumeration value="Pricing"/>
                    <xsd:enumeration value="Tax &amp; Accounting"/>
                    <xsd:enumeration value="Lighting"/>
                    <xsd:enumeration value="Marketing"/>
                    <xsd:enumeration value="Legal"/>
                    <xsd:enumeration value="Finance and Cap Markets"/>
                    <xsd:enumeration value="DER - Renewables"/>
                    <xsd:enumeration value="DER - Demand Response"/>
                    <xsd:enumeration value="O&amp;M"/>
                  </xsd:restriction>
                </xsd:simpleType>
              </xsd:element>
            </xsd:sequence>
          </xsd:extension>
        </xsd:complexContent>
      </xsd:complexType>
    </xsd:element>
    <xsd:element name="Topic" ma:index="21" nillable="true" ma:displayName="Presenter" ma:format="Dropdown" ma:list="UserInfo" ma:SharePointGroup="0" ma:internalName="Topic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rainingTopic" ma:index="22" nillable="true" ma:displayName="Training Topic" ma:format="Dropdown" ma:internalName="TrainingTopic">
      <xsd:simpleType>
        <xsd:restriction base="dms:Text">
          <xsd:maxLength value="255"/>
        </xsd:restriction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8ec4c4-74bb-4aac-93d5-4008084c05a8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e3469536-5794-4f45-906e-97bfa83130d0}" ma:internalName="TaxCatchAll" ma:showField="CatchAllData" ma:web="3e8ec4c4-74bb-4aac-93d5-4008084c05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DBF0BDE-5F67-4CC7-A3F8-D2BDC4DA589D}">
  <ds:schemaRefs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3e8ec4c4-74bb-4aac-93d5-4008084c05a8"/>
    <ds:schemaRef ds:uri="2e1b60d9-4076-4a39-8b67-fb984b9f6a4e"/>
  </ds:schemaRefs>
</ds:datastoreItem>
</file>

<file path=customXml/itemProps2.xml><?xml version="1.0" encoding="utf-8"?>
<ds:datastoreItem xmlns:ds="http://schemas.openxmlformats.org/officeDocument/2006/customXml" ds:itemID="{C511A7AC-5D80-4A6D-8943-737714D2677D}">
  <ds:schemaRefs>
    <ds:schemaRef ds:uri="2e1b60d9-4076-4a39-8b67-fb984b9f6a4e"/>
    <ds:schemaRef ds:uri="3e8ec4c4-74bb-4aac-93d5-4008084c05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0BD4C48-9A5D-4312-A53C-543C01111C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67</TotalTime>
  <Words>715</Words>
  <Application>Microsoft Office PowerPoint</Application>
  <PresentationFormat>Widescreen</PresentationFormat>
  <Paragraphs>192</Paragraphs>
  <Slides>2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Arial Narrow</vt:lpstr>
      <vt:lpstr>Bernhard Template</vt:lpstr>
      <vt:lpstr>think-cell Slide</vt:lpstr>
      <vt:lpstr>Batteries</vt:lpstr>
      <vt:lpstr>Agenda</vt:lpstr>
      <vt:lpstr>Why Now?</vt:lpstr>
      <vt:lpstr>WHY NOW?</vt:lpstr>
      <vt:lpstr>WHY NOW?</vt:lpstr>
      <vt:lpstr>WHY NOW?</vt:lpstr>
      <vt:lpstr>COMMERCIAL TECHNOLOGIES</vt:lpstr>
      <vt:lpstr>Market Overview + Economics</vt:lpstr>
      <vt:lpstr>COMMERCIAL TECHNOLOGIES</vt:lpstr>
      <vt:lpstr>COMMERCIAL TECHNOLOGIES: Lithium-ION Pricing</vt:lpstr>
      <vt:lpstr>Operations strategies</vt:lpstr>
      <vt:lpstr>Operations Strategies: Energy Arbitrage </vt:lpstr>
      <vt:lpstr>Operations Strategies: Demand Response </vt:lpstr>
      <vt:lpstr>Operations Strategies: Combined</vt:lpstr>
      <vt:lpstr>Economic analysis</vt:lpstr>
      <vt:lpstr>ECONOMIC ANALYSIS: System price</vt:lpstr>
      <vt:lpstr>ECONOMIC ANALYSIS: energy arbitrage</vt:lpstr>
      <vt:lpstr>Economic analysis: Demand Response</vt:lpstr>
      <vt:lpstr>Economic analysis: Demand Response</vt:lpstr>
      <vt:lpstr>Economic analysis: REGIONAL ANALYSIS</vt:lpstr>
      <vt:lpstr>Questions + concluding remar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ime Boquiren</dc:creator>
  <cp:lastModifiedBy>Caleb Haynes</cp:lastModifiedBy>
  <cp:revision>4</cp:revision>
  <cp:lastPrinted>2024-06-20T13:07:17Z</cp:lastPrinted>
  <dcterms:created xsi:type="dcterms:W3CDTF">2022-10-06T21:35:43Z</dcterms:created>
  <dcterms:modified xsi:type="dcterms:W3CDTF">2024-09-17T13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3B07897D440F4AA70798B5D8C1F65D</vt:lpwstr>
  </property>
  <property fmtid="{D5CDD505-2E9C-101B-9397-08002B2CF9AE}" pid="3" name="MediaServiceImageTags">
    <vt:lpwstr/>
  </property>
  <property fmtid="{D5CDD505-2E9C-101B-9397-08002B2CF9AE}" pid="4" name="TaxKeyword">
    <vt:lpwstr/>
  </property>
</Properties>
</file>